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</p:sldMasterIdLst>
  <p:notesMasterIdLst>
    <p:notesMasterId r:id="rId17"/>
  </p:notesMasterIdLst>
  <p:sldIdLst>
    <p:sldId id="2147473406" r:id="rId3"/>
    <p:sldId id="2147473407" r:id="rId4"/>
    <p:sldId id="2147473436" r:id="rId5"/>
    <p:sldId id="2147473438" r:id="rId6"/>
    <p:sldId id="2147473439" r:id="rId7"/>
    <p:sldId id="2147473440" r:id="rId8"/>
    <p:sldId id="2147473441" r:id="rId9"/>
    <p:sldId id="2147473442" r:id="rId10"/>
    <p:sldId id="2147473443" r:id="rId11"/>
    <p:sldId id="2147473444" r:id="rId12"/>
    <p:sldId id="2147473445" r:id="rId13"/>
    <p:sldId id="2147473446" r:id="rId14"/>
    <p:sldId id="2147473447" r:id="rId15"/>
    <p:sldId id="2147473411" r:id="rId16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245E"/>
    <a:srgbClr val="660066"/>
    <a:srgbClr val="3891A0"/>
    <a:srgbClr val="2D1943"/>
    <a:srgbClr val="F8992F"/>
    <a:srgbClr val="CC99FF"/>
    <a:srgbClr val="E83A42"/>
    <a:srgbClr val="098B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14" autoAdjust="0"/>
    <p:restoredTop sz="94660"/>
  </p:normalViewPr>
  <p:slideViewPr>
    <p:cSldViewPr snapToGrid="0">
      <p:cViewPr varScale="1">
        <p:scale>
          <a:sx n="68" d="100"/>
          <a:sy n="68" d="100"/>
        </p:scale>
        <p:origin x="1440" y="8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580154-2DA8-448A-92DD-D2CC80C90C3A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61D7C8-55F6-465E-BDE9-2243105FE54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74558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557211-0E88-6220-B3FE-80D192F41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4B670AA-01C9-439A-DB58-C491EFAC89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F6BA531-3D63-2034-7C60-47BFF4083D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A7E6811-38EF-92FA-5158-C3DD24068C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35D8BE-B55E-4990-84A1-89784B415617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88770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1D7C8-55F6-465E-BDE9-2243105FE54D}" type="slidenum">
              <a:rPr lang="es-CL" smtClean="0"/>
              <a:t>1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39607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106DB9-FA40-4E66-B644-16D6D4D82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09839F6-A5A6-453A-B916-298C57C8A9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2F09D58-6A85-489D-88DD-5B1953B9EB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489E6-5E45-4C73-99B0-75BC0B34799F}" type="datetime1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A2C8EB7-5370-4A7B-9FFD-E8687BAA9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B88C1CE-C257-4608-B095-3D9264C34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59102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AB6ACE-1CB3-451F-A1BA-01F11BC2D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83F8EAC-25FD-4513-8BBF-21BEBD0CD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F274A95-EB70-47B9-991D-12178967D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AD0087-9AE3-4AD8-9992-0920F16C8B43}" type="datetime1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DA1EC8-AFD2-43D4-A97E-497C0DD55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4800F6A-FF29-4D3F-8912-CB6710D3C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227602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572021C-0D53-456C-9892-E0A93485D4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E8DBCB13-C684-4619-9EA7-CF3E74072B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1475E12-DB66-4CB4-BC32-C872E7BC99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1F4C9-61D4-4C0E-86DB-E037F6EE7621}" type="datetime1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25C5BC6-E548-4F36-BC25-601BBC8B9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A64E5E0-9AE2-48E2-8FFE-8BDA31F20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261322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B657E9F-F5BE-4303-9078-4B04190685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635" y="1297498"/>
            <a:ext cx="10976132" cy="639943"/>
          </a:xfrm>
        </p:spPr>
        <p:txBody>
          <a:bodyPr wrap="square">
            <a:noAutofit/>
          </a:bodyPr>
          <a:lstStyle>
            <a:lvl1pPr marL="0" indent="0">
              <a:buNone/>
              <a:defRPr lang="pt-PT" sz="14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defTabSz="457154">
              <a:lnSpc>
                <a:spcPct val="85000"/>
              </a:lnSpc>
              <a:spcBef>
                <a:spcPts val="600"/>
              </a:spcBef>
            </a:pPr>
            <a:r>
              <a:rPr lang="pt-PT"/>
              <a:t>Edit master text styles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C64B4EA8-8473-4DEC-B58F-F8754D7F19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7635" y="2081501"/>
            <a:ext cx="10976132" cy="369332"/>
          </a:xfrm>
        </p:spPr>
        <p:txBody>
          <a:bodyPr wrap="square">
            <a:spAutoFit/>
          </a:bodyPr>
          <a:lstStyle>
            <a:lvl1pPr marL="0" indent="0">
              <a:buNone/>
              <a:defRPr lang="pt-PT" b="1" dirty="0">
                <a:solidFill>
                  <a:srgbClr val="61AFD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defTabSz="457154"/>
            <a:r>
              <a:rPr lang="pt-PT"/>
              <a:t>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C1DCB1CB-FA81-4BAC-8AAB-ECDE3575F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635" y="2389318"/>
            <a:ext cx="10976132" cy="1771629"/>
          </a:xfrm>
        </p:spPr>
        <p:txBody>
          <a:bodyPr wrap="square">
            <a:noAutofit/>
          </a:bodyPr>
          <a:lstStyle>
            <a:lvl1pPr marL="285721" indent="-285721">
              <a:buSzPct val="100000"/>
              <a:buFontTx/>
              <a:buBlip>
                <a:blip r:embed="rId2"/>
              </a:buBlip>
              <a:defRPr lang="pt-PT" sz="14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Clr>
                <a:srgbClr val="F79E43"/>
              </a:buClr>
              <a:defRPr/>
            </a:lvl2pPr>
            <a:lvl3pPr>
              <a:buClr>
                <a:srgbClr val="F79E43"/>
              </a:buClr>
              <a:defRPr/>
            </a:lvl3pPr>
            <a:lvl4pPr>
              <a:buClr>
                <a:srgbClr val="F79E43"/>
              </a:buClr>
              <a:defRPr/>
            </a:lvl4pPr>
            <a:lvl5pPr>
              <a:buClr>
                <a:srgbClr val="F79E43"/>
              </a:buClr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  <a:p>
            <a:pPr marL="171433" lvl="0" indent="-171433" defTabSz="457154">
              <a:lnSpc>
                <a:spcPct val="85000"/>
              </a:lnSpc>
              <a:spcBef>
                <a:spcPts val="600"/>
              </a:spcBef>
              <a:buSzPct val="150000"/>
              <a:buFont typeface="Calibri" panose="020F0502020204030204" pitchFamily="34" charset="0"/>
              <a:buChar char="○"/>
            </a:pPr>
            <a:endParaRPr lang="pt-PT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D433E995-C855-4D0E-A13C-4711759398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7635" y="4402838"/>
            <a:ext cx="10976132" cy="286232"/>
          </a:xfrm>
        </p:spPr>
        <p:txBody>
          <a:bodyPr wrap="square">
            <a:spAutoFit/>
          </a:bodyPr>
          <a:lstStyle>
            <a:lvl1pPr marL="0" indent="0">
              <a:buNone/>
              <a:defRPr lang="pt-PT" sz="1400" b="1" dirty="0">
                <a:solidFill>
                  <a:srgbClr val="61AFD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defTabSz="457154"/>
            <a:r>
              <a:rPr lang="pt-PT"/>
              <a:t>EDIT MASTER TEXT STYLES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0862A25-B8EA-4C8C-B319-380E73ACC1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635" y="4719709"/>
            <a:ext cx="10976132" cy="947762"/>
          </a:xfrm>
        </p:spPr>
        <p:txBody>
          <a:bodyPr wrap="square">
            <a:noAutofit/>
          </a:bodyPr>
          <a:lstStyle>
            <a:lvl1pPr marL="0" indent="0">
              <a:buNone/>
              <a:defRPr lang="pt-PT" sz="14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defTabSz="457154">
              <a:lnSpc>
                <a:spcPct val="85000"/>
              </a:lnSpc>
              <a:spcBef>
                <a:spcPts val="600"/>
              </a:spcBef>
            </a:pPr>
            <a:r>
              <a:rPr lang="pt-PT"/>
              <a:t>Edit master text styles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0F87E39-A782-46F6-AE66-FCBD4FEF81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3123" y="342577"/>
            <a:ext cx="11342052" cy="549381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PT" sz="3300" b="1" dirty="0">
                <a:solidFill>
                  <a:srgbClr val="F79E43"/>
                </a:solidFill>
                <a:latin typeface="Calibri" panose="020F0502020204030204" pitchFamily="34" charset="0"/>
                <a:ea typeface="Segoe UI" panose="020B0502040204020203" pitchFamily="34" charset="0"/>
                <a:cs typeface="Calibri" panose="020F0502020204030204" pitchFamily="34" charset="0"/>
              </a:defRPr>
            </a:lvl1pPr>
          </a:lstStyle>
          <a:p>
            <a:pPr marL="0" lvl="0" defTabSz="457154"/>
            <a:r>
              <a:rPr lang="pt-PT"/>
              <a:t>EDIT 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491C1F3D-7CEC-4868-ABC6-F8A0AF92A5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7635" y="799735"/>
            <a:ext cx="11342052" cy="3693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PT" b="1" dirty="0">
                <a:solidFill>
                  <a:srgbClr val="61AFDE"/>
                </a:solidFill>
                <a:latin typeface="Calibri" panose="020F0502020204030204" pitchFamily="34" charset="0"/>
                <a:ea typeface="Segoe UI" panose="020B0502040204020203" pitchFamily="34" charset="0"/>
                <a:cs typeface="Calibri" panose="020F0502020204030204" pitchFamily="34" charset="0"/>
              </a:defRPr>
            </a:lvl1pPr>
          </a:lstStyle>
          <a:p>
            <a:pPr marL="0" lvl="0" defTabSz="457154"/>
            <a:r>
              <a:rPr lang="pt-PT"/>
              <a:t>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8928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/>
          <p:cNvSpPr>
            <a:spLocks noGrp="1"/>
          </p:cNvSpPr>
          <p:nvPr>
            <p:ph type="body" sz="quarter" idx="13" hasCustomPrompt="1"/>
          </p:nvPr>
        </p:nvSpPr>
        <p:spPr>
          <a:xfrm>
            <a:off x="1463808" y="232913"/>
            <a:ext cx="9264384" cy="540000"/>
          </a:xfrm>
          <a:prstGeom prst="rect">
            <a:avLst/>
          </a:prstGeom>
        </p:spPr>
        <p:txBody>
          <a:bodyPr lIns="91438" tIns="45719" rIns="91438" bIns="45719" anchor="ctr" anchorCtr="0"/>
          <a:lstStyle>
            <a:lvl1pPr marL="0" indent="0">
              <a:buNone/>
              <a:defRPr lang="fr-FR" sz="2400" b="1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fr-FR"/>
              <a:t>Slide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288000" y="836712"/>
            <a:ext cx="11520000" cy="532923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5591" indent="-355591">
              <a:buFont typeface="Arial" panose="020B0604020202020204" pitchFamily="34" charset="0"/>
              <a:buChar char="•"/>
              <a:tabLst>
                <a:tab pos="355591" algn="l"/>
              </a:tabLst>
              <a:defRPr sz="1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971" indent="-228594">
              <a:buFont typeface="Wingdings" panose="05000000000000000000" pitchFamily="2" charset="2"/>
              <a:buChar char="ü"/>
              <a:defRPr sz="1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Text</a:t>
            </a:r>
            <a:endParaRPr lang="fr-FR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11640616" y="6525344"/>
            <a:ext cx="551383" cy="332655"/>
          </a:xfrm>
          <a:prstGeom prst="rect">
            <a:avLst/>
          </a:prstGeom>
        </p:spPr>
        <p:txBody>
          <a:bodyPr lIns="91438" tIns="45719" rIns="91438" bIns="45719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78D17A-1052-4CF0-A67D-8EA60013973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3010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42899D-F315-4076-A33E-91626E6EB6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095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42899D-F315-4076-A33E-91626E6EB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>
            <a:extLst>
              <a:ext uri="{FF2B5EF4-FFF2-40B4-BE49-F238E27FC236}">
                <a16:creationId xmlns:a16="http://schemas.microsoft.com/office/drawing/2014/main" id="{5127389A-C3DF-3347-BE4D-69D534F0B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CL"/>
              <a:t>[</a:t>
            </a:r>
            <a:r>
              <a:rPr lang="es-CL" err="1"/>
              <a:t>Slide</a:t>
            </a:r>
            <a:r>
              <a:rPr lang="es-CL"/>
              <a:t> </a:t>
            </a:r>
            <a:r>
              <a:rPr lang="es-CL" err="1"/>
              <a:t>title</a:t>
            </a:r>
            <a:r>
              <a:rPr lang="es-CL"/>
              <a:t>]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D99FC200-8318-B648-A0D5-0D72DB4D653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s-CL"/>
              <a:t>[</a:t>
            </a:r>
            <a:r>
              <a:rPr lang="es-CL" err="1"/>
              <a:t>Optional</a:t>
            </a:r>
            <a:r>
              <a:rPr lang="es-CL"/>
              <a:t> </a:t>
            </a:r>
            <a:r>
              <a:rPr lang="es-CL" err="1"/>
              <a:t>slide</a:t>
            </a:r>
            <a:r>
              <a:rPr lang="es-CL"/>
              <a:t> </a:t>
            </a:r>
            <a:r>
              <a:rPr lang="es-CL" err="1"/>
              <a:t>subtitle</a:t>
            </a:r>
            <a:r>
              <a:rPr lang="es-CL"/>
              <a:t>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438912" y="1733550"/>
            <a:ext cx="9543288" cy="4484370"/>
          </a:xfrm>
        </p:spPr>
        <p:txBody>
          <a:bodyPr/>
          <a:lstStyle/>
          <a:p>
            <a:pPr lvl="0"/>
            <a:r>
              <a:rPr lang="es-CL" err="1"/>
              <a:t>Click</a:t>
            </a:r>
            <a:r>
              <a:rPr lang="es-CL"/>
              <a:t> </a:t>
            </a:r>
            <a:r>
              <a:rPr lang="es-CL" err="1"/>
              <a:t>to</a:t>
            </a:r>
            <a:r>
              <a:rPr lang="es-CL"/>
              <a:t> </a:t>
            </a:r>
            <a:r>
              <a:rPr lang="es-CL" err="1"/>
              <a:t>edit</a:t>
            </a:r>
            <a:r>
              <a:rPr lang="es-CL"/>
              <a:t> Master </a:t>
            </a:r>
            <a:r>
              <a:rPr lang="es-CL" err="1"/>
              <a:t>text</a:t>
            </a:r>
            <a:r>
              <a:rPr lang="es-CL"/>
              <a:t> </a:t>
            </a:r>
            <a:r>
              <a:rPr lang="es-CL" err="1"/>
              <a:t>styles</a:t>
            </a:r>
            <a:endParaRPr lang="es-CL"/>
          </a:p>
          <a:p>
            <a:pPr lvl="1"/>
            <a:r>
              <a:rPr lang="es-CL" err="1"/>
              <a:t>Second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2"/>
            <a:r>
              <a:rPr lang="es-CL" err="1"/>
              <a:t>Third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3"/>
            <a:r>
              <a:rPr lang="es-CL" err="1"/>
              <a:t>Four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4"/>
            <a:r>
              <a:rPr lang="es-CL" err="1"/>
              <a:t>Fif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5"/>
            <a:r>
              <a:rPr lang="es-CL" err="1"/>
              <a:t>Six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6"/>
            <a:r>
              <a:rPr lang="es-CL" err="1"/>
              <a:t>Seven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7"/>
            <a:r>
              <a:rPr lang="es-CL" err="1"/>
              <a:t>Eigh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8"/>
            <a:r>
              <a:rPr lang="es-CL" err="1"/>
              <a:t>Nin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CBF34F6-C56F-A645-B612-033F76243B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FEB2C45C-E16E-4E28-BA4C-90354A51C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s-CL"/>
              <a:t>[</a:t>
            </a:r>
            <a:r>
              <a:rPr lang="es-CL" err="1"/>
              <a:t>Optional</a:t>
            </a:r>
            <a:r>
              <a:rPr lang="es-CL"/>
              <a:t> </a:t>
            </a:r>
            <a:r>
              <a:rPr lang="es-CL" err="1"/>
              <a:t>footnotes</a:t>
            </a:r>
            <a:r>
              <a:rPr lang="es-CL"/>
              <a:t>/</a:t>
            </a:r>
            <a:r>
              <a:rPr lang="es-CL" err="1"/>
              <a:t>references</a:t>
            </a:r>
            <a:r>
              <a:rPr lang="es-CL"/>
              <a:t>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124EBE94-9222-404D-8CB9-BB29235737B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DBA6B9-21EF-4DC7-9F9E-627253BFC1E2}" type="datetime1">
              <a:rPr lang="es-CL" smtClean="0"/>
              <a:t>01-04-2026</a:t>
            </a:fld>
            <a:endParaRPr lang="es-CL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6487925-D163-ED40-A98A-BC1B011B4B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52175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2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987527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>
            <a:extLst>
              <a:ext uri="{FF2B5EF4-FFF2-40B4-BE49-F238E27FC236}">
                <a16:creationId xmlns:a16="http://schemas.microsoft.com/office/drawing/2014/main" id="{5127389A-C3DF-3347-BE4D-69D534F0B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rmAutofit/>
          </a:bodyPr>
          <a:lstStyle>
            <a:lvl1pPr rtl="0">
              <a:defRPr sz="2799"/>
            </a:lvl1pPr>
          </a:lstStyle>
          <a:p>
            <a:r>
              <a:rPr lang="es-CL"/>
              <a:t>[</a:t>
            </a:r>
            <a:r>
              <a:rPr lang="es-CL" err="1"/>
              <a:t>Slide</a:t>
            </a:r>
            <a:r>
              <a:rPr lang="es-CL"/>
              <a:t> </a:t>
            </a:r>
            <a:r>
              <a:rPr lang="es-CL" err="1"/>
              <a:t>title</a:t>
            </a:r>
            <a:r>
              <a:rPr lang="es-CL"/>
              <a:t>]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D99FC200-8318-B648-A0D5-0D72DB4D653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4" y="1276214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99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99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99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99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99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99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99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99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99" b="1">
                <a:solidFill>
                  <a:schemeClr val="tx2"/>
                </a:solidFill>
              </a:defRPr>
            </a:lvl9pPr>
          </a:lstStyle>
          <a:p>
            <a:r>
              <a:rPr lang="es-CL"/>
              <a:t>[</a:t>
            </a:r>
            <a:r>
              <a:rPr lang="es-CL" err="1"/>
              <a:t>Optional</a:t>
            </a:r>
            <a:r>
              <a:rPr lang="es-CL"/>
              <a:t> </a:t>
            </a:r>
            <a:r>
              <a:rPr lang="es-CL" err="1"/>
              <a:t>slide</a:t>
            </a:r>
            <a:r>
              <a:rPr lang="es-CL"/>
              <a:t> </a:t>
            </a:r>
            <a:r>
              <a:rPr lang="es-CL" err="1"/>
              <a:t>subtitle</a:t>
            </a:r>
            <a:r>
              <a:rPr lang="es-CL"/>
              <a:t>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438913" y="1733550"/>
            <a:ext cx="9543288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s-CL" err="1"/>
              <a:t>Click</a:t>
            </a:r>
            <a:r>
              <a:rPr lang="es-CL"/>
              <a:t> </a:t>
            </a:r>
            <a:r>
              <a:rPr lang="es-CL" err="1"/>
              <a:t>to</a:t>
            </a:r>
            <a:r>
              <a:rPr lang="es-CL"/>
              <a:t> </a:t>
            </a:r>
            <a:r>
              <a:rPr lang="es-CL" err="1"/>
              <a:t>edit</a:t>
            </a:r>
            <a:r>
              <a:rPr lang="es-CL"/>
              <a:t> Master </a:t>
            </a:r>
            <a:r>
              <a:rPr lang="es-CL" err="1"/>
              <a:t>text</a:t>
            </a:r>
            <a:r>
              <a:rPr lang="es-CL"/>
              <a:t> </a:t>
            </a:r>
            <a:r>
              <a:rPr lang="es-CL" err="1"/>
              <a:t>styles</a:t>
            </a:r>
            <a:endParaRPr lang="es-CL"/>
          </a:p>
          <a:p>
            <a:pPr lvl="1"/>
            <a:r>
              <a:rPr lang="es-CL" err="1"/>
              <a:t>Second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2"/>
            <a:r>
              <a:rPr lang="es-CL" err="1"/>
              <a:t>Third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3"/>
            <a:r>
              <a:rPr lang="es-CL" err="1"/>
              <a:t>Four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4"/>
            <a:r>
              <a:rPr lang="es-CL" err="1"/>
              <a:t>Fif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5"/>
            <a:r>
              <a:rPr lang="es-CL" err="1"/>
              <a:t>Six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6"/>
            <a:r>
              <a:rPr lang="es-CL" err="1"/>
              <a:t>Seven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7"/>
            <a:r>
              <a:rPr lang="es-CL" err="1"/>
              <a:t>Eigh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  <a:p>
            <a:pPr lvl="8"/>
            <a:r>
              <a:rPr lang="es-CL" err="1"/>
              <a:t>Ninth</a:t>
            </a:r>
            <a:r>
              <a:rPr lang="es-CL"/>
              <a:t> </a:t>
            </a:r>
            <a:r>
              <a:rPr lang="es-CL" err="1"/>
              <a:t>level</a:t>
            </a:r>
            <a:endParaRPr lang="es-CL"/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FEB2C45C-E16E-4E28-BA4C-90354A51C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5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s-CL"/>
              <a:t>[</a:t>
            </a:r>
            <a:r>
              <a:rPr lang="es-CL" err="1"/>
              <a:t>Optional</a:t>
            </a:r>
            <a:r>
              <a:rPr lang="es-CL"/>
              <a:t> </a:t>
            </a:r>
            <a:r>
              <a:rPr lang="es-CL" err="1"/>
              <a:t>footnotes</a:t>
            </a:r>
            <a:r>
              <a:rPr lang="es-CL"/>
              <a:t>/</a:t>
            </a:r>
            <a:r>
              <a:rPr lang="es-CL" err="1"/>
              <a:t>references</a:t>
            </a:r>
            <a:r>
              <a:rPr lang="es-CL"/>
              <a:t>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124EBE94-9222-404D-8CB9-BB29235737B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42940F53-4C6A-47DD-9BB4-AA9587504073}" type="datetime1">
              <a:rPr lang="es-CL" smtClean="0"/>
              <a:t>01-04-2026</a:t>
            </a:fld>
            <a:endParaRPr lang="es-CL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6487925-D163-ED40-A98A-BC1B011B4B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7870704B-CE94-48CC-AF30-84932A1262A7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1574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2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/>
          <p:cNvSpPr>
            <a:spLocks noGrp="1"/>
          </p:cNvSpPr>
          <p:nvPr>
            <p:ph type="body" sz="quarter" idx="13" hasCustomPrompt="1"/>
          </p:nvPr>
        </p:nvSpPr>
        <p:spPr>
          <a:xfrm>
            <a:off x="1463808" y="232913"/>
            <a:ext cx="9264384" cy="540000"/>
          </a:xfrm>
          <a:prstGeom prst="rect">
            <a:avLst/>
          </a:prstGeom>
        </p:spPr>
        <p:txBody>
          <a:bodyPr lIns="91438" tIns="45719" rIns="91438" bIns="45719" anchor="ctr" anchorCtr="0"/>
          <a:lstStyle>
            <a:lvl1pPr marL="0" indent="0">
              <a:buNone/>
              <a:defRPr lang="fr-FR" sz="2400" b="1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fr-FR"/>
              <a:t>Slide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288000" y="836712"/>
            <a:ext cx="11520000" cy="532923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5591" indent="-355591">
              <a:buFont typeface="Arial" panose="020B0604020202020204" pitchFamily="34" charset="0"/>
              <a:buChar char="•"/>
              <a:tabLst>
                <a:tab pos="355591" algn="l"/>
              </a:tabLst>
              <a:defRPr sz="1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971" indent="-228594">
              <a:buFont typeface="Wingdings" panose="05000000000000000000" pitchFamily="2" charset="2"/>
              <a:buChar char="ü"/>
              <a:defRPr sz="1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Text</a:t>
            </a:r>
            <a:endParaRPr lang="fr-FR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11640616" y="6525344"/>
            <a:ext cx="551383" cy="332655"/>
          </a:xfrm>
          <a:prstGeom prst="rect">
            <a:avLst/>
          </a:prstGeom>
        </p:spPr>
        <p:txBody>
          <a:bodyPr lIns="91438" tIns="45719" rIns="91438" bIns="45719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78D17A-1052-4CF0-A67D-8EA60013973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7912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7FC2008-35C7-1113-050B-9C152C944D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601B3FC-8E30-B8AA-B186-B8453C94A2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6C6287E-ED10-7C37-870A-ED06306C1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2A320E3-1C21-24D2-C15A-405A5ECCB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262DFD0-18BA-B8A8-05C0-15291FF2D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486413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48A4F5-7BFE-BF9D-49CB-56090CAEC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61E0EDC-0C7C-672A-978B-454005EEDB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9EE0605-70B4-B74E-0F5B-143EE568CD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142B37F-187A-1284-70F2-D9A34CA89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C147BFD-B8A3-A3C1-F2CC-7145536A0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704650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9368738-CF4B-AB9F-2DD1-1FAD10400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DF4775E-16BA-483E-2569-910CC78B23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B2537A6-B3A2-EEF2-63FB-E56E2E8C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FC189B-7366-EC3F-5D4B-4CE5B218A1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6D338C8-802C-4278-7581-00D120EFB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23421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C0E0B-B148-433F-94C9-331B7B15A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46C48ED-0F27-4399-A2F5-7A65072FB7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F747C1-3A45-4BB8-A033-0DA98BE60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762E3-EF63-4470-8EE5-BC671AB79715}" type="datetime1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3560223-C211-42D4-B395-2526814BD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7675ED4-EA64-4351-8F67-9DE51F53B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708406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B4000B-077A-563D-9EFA-6DC3920B2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7272156-2B7F-1745-EADC-48931CFDAE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375B51E-108A-D3DD-513C-EFFFE9A874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19C225B-6D8C-1BF1-D02C-F049A5DA42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986BEAB-637F-74DC-7449-DAD8B015B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00CD1C7-BB82-08AD-5191-3E1DAADEF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261732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B3FD944-DFB9-9EBB-F2BA-6387D63FC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FB4B8F-B7F7-BCE5-7051-8C5CF22782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DBC9E67-A9F6-B0E1-28D7-1A5358D906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A8FE2DE-0560-7A59-2248-0A787AEB168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590AB4B-A437-82A4-8487-3339BA8824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424A44D-6EFE-5186-ECCF-456A271F5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8D03AA63-F6C1-619E-A664-0AB630C16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4A7D50A7-5C8E-79B4-71F6-45AB80988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27382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0108AF8-C469-A047-DD3D-8C8C3AF6F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31F3CCA-E16C-6DC8-58B6-20D3EFCCDF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CD14DFF-C76A-52F2-0356-6D0A8731C4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34E1839-C93D-4899-D753-99F3948D5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008588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6664609C-FF4C-FF07-43E9-3B0E91CECF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18576B7-32F7-1630-EAE4-9BFA96A9B5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7DDC73D-FC62-A0D0-E560-C6371CC9A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626715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23C4E1-7E41-B536-A290-492729FD3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98C3FBD-0A87-BDBC-A654-CEBDA2C5E2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BAFB3E3-8ACA-FC8C-B7EF-E67ACBA35B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319BAC7-30E1-049A-8A13-8A0FBBA73D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FC19CEF-64E8-6EAF-0201-78792C6C9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FA466C2-55E6-2308-EA9B-565824624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345749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5EF2D7-1624-6732-2863-CF5C18D3F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006F463-E987-3190-A275-8ECE6B78B2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02B27E5-5A9C-45B2-5C12-AAD4749856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BD3ADF9-F8C2-048F-9BF8-157A909C5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FF59FCF-CB95-DB36-A65A-32AD876FC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805B55A-C5C6-0CD5-75D9-BD9876E53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994414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2F33E85-9666-D2C1-AB0E-282D06581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85A9952-0916-30D9-5E79-CBBF5904E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C8B2C5E-0A44-F830-B894-468004F90D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3877D9F-5059-B7F0-5F36-4D056A062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AA329C8-E661-53B4-C33D-8B412E864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148136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AA8BC65-8D2C-D8FE-5475-DC4963CBD05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7947373-EBE3-8733-E9F0-AF8ED4128A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9F9584C-CF8E-5C6B-382E-CE7CF33D4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5A1E040-A528-DE9B-1E6D-D575F9419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E9CC55C-3163-5623-D2D1-75E4702BE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61062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7ECE66-8F01-4D62-AD1A-796686764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F1FCE08-4AE5-4B6F-9AEC-8E8CF1A002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9437DDF-1641-4DC5-A41D-955A68970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631FAF-92C5-446C-A69C-5FCF78A818C6}" type="datetime1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8C59097-0607-498B-B700-02ADCCFDA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E3267C1-201D-4A4C-8EB2-CF0052488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29921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19EC26-D24D-45D6-AD77-CE6D1FE2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99079F5-FE0C-4BF6-8AF0-51F5FCA022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5252627E-7E50-483F-90DD-0D7B2A1FF3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29E3F92-0502-4ABA-905E-C776ECDF3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8BCE4-5793-4774-A529-D9ED6C8B546F}" type="datetime1">
              <a:rPr lang="es-CL" smtClean="0"/>
              <a:t>01-04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119CB6D-DA2F-45C9-9E5C-A1091D7538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58BF5FF-04F3-4B40-B7E6-CC8D3D1A3A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902183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F57E02C-A15F-4694-8806-F3A9C19630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77E536B-FF96-4951-859F-7DEFB2EB0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9D905E3-0DFC-4D35-8E01-28756CD6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0FEAB23-A8A2-43AB-8972-0D146C8A12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D678E256-7C8E-4DAA-8049-FD956507A6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6A45F2E8-DFE0-442D-BB63-2AC9946A6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052EA-ADBB-46D6-9DFB-E8A48F75D0F3}" type="datetime1">
              <a:rPr lang="es-CL" smtClean="0"/>
              <a:t>01-04-2026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60BE7B4-2BFE-4299-8DE5-DE4708F213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E4447596-C3B4-443E-84EC-12A80BC00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663468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0239AB0-8AA5-4DCC-95B6-F0A6BBBB8A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81A328E-A085-4855-B5AA-25C4B0B28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312D-6907-4E78-9F4C-720F2A414434}" type="datetime1">
              <a:rPr lang="es-CL" smtClean="0"/>
              <a:t>01-04-2026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2979E49-766A-4487-BCDE-2660C6365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11B5D7A-6BB0-4B26-9339-E2624A391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45885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2A6C1D30-15D5-43B1-9E43-AB2F0A833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ED366-0F7C-44ED-975D-61F1B679F4AF}" type="datetime1">
              <a:rPr lang="es-CL" smtClean="0"/>
              <a:t>01-04-2026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965EBE6-7FB5-4F74-A944-7AF59F0A12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30BEC21-CEEA-4D37-BFDB-2BECA2D29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8275" y="6173787"/>
            <a:ext cx="2743200" cy="365125"/>
          </a:xfrm>
        </p:spPr>
        <p:txBody>
          <a:bodyPr/>
          <a:lstStyle>
            <a:lvl1pPr>
              <a:defRPr sz="1400">
                <a:solidFill>
                  <a:srgbClr val="25366E"/>
                </a:solidFill>
                <a:latin typeface="Khand Semibold" panose="02000000000000000000" pitchFamily="2" charset="0"/>
                <a:cs typeface="Khand Semibold" panose="02000000000000000000" pitchFamily="2" charset="0"/>
              </a:defRPr>
            </a:lvl1pPr>
          </a:lstStyle>
          <a:p>
            <a:fld id="{7B853BA0-54DA-4BED-AFAE-47BBBE84EC9E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759151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047164-68F6-43B2-B18A-4E8BC577E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A84470F-1D6E-407A-95D8-614C83602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1C053F0-8FB9-4383-979B-BFB44BE028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51E53C9-3288-4159-9054-DD3711570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F012A5-CEA5-4280-BB23-759D397443D1}" type="datetime1">
              <a:rPr lang="es-CL" smtClean="0"/>
              <a:t>01-04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C1626C0-48A7-41B7-A835-BDFBF601D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C23FCA2-B1C7-47F9-A456-1C573D124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468980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CAA5880-6114-4DBC-A20C-BB8935A32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9C7A53A-FFD9-4630-AB94-8BD84F3C8A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567E71A-3669-438F-939D-2FF330F299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1E13CE3-0217-4DD7-9607-5F435DC49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5A109-5125-440B-8560-0CB21EAF95DF}" type="datetime1">
              <a:rPr lang="es-CL" smtClean="0"/>
              <a:t>01-04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96A0EC0-4A7C-4260-AE11-C23DAE37E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EE309CF-8D6D-496D-B423-79F5FB148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16806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0F125041-683E-1936-D156-003103A79A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94221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9" imgW="351" imgH="351" progId="TCLayout.ActiveDocument.1">
                  <p:embed/>
                </p:oleObj>
              </mc:Choice>
              <mc:Fallback>
                <p:oleObj name="Diapositiva de think-cell" r:id="rId19" imgW="351" imgH="351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0F125041-683E-1936-D156-003103A79A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BB1A296-E252-4EEA-881F-518430DCF6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5355E5-E587-484C-8E84-50924A3DBB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98E2C27-C718-429F-B7DF-0F466777B2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1C857-044B-4137-BDFF-7F7ED5A68356}" type="datetime1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DD243A5-24EF-4696-A53B-5608930C1F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E9DD758-9931-4B39-A0A9-B4F94B6B32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853BA0-54DA-4BED-AFAE-47BBBE84EC9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797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F0DBA3CC-D451-DF58-C005-F038F7723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840840C-21E8-B620-5527-DF4E3B06E7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1508EA4-8CB3-B31B-AA50-9A2E6059B5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FDE9B81-642F-4B8B-99A3-452F936964D7}" type="datetimeFigureOut">
              <a:rPr lang="es-CL" smtClean="0"/>
              <a:t>01-04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D584585-4A42-61B5-6349-E39C5950AF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7D0AEC6-99AD-A6AC-2547-0C5AD1AA97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58A002F-05C6-431F-8637-E7B6F5F65F3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78184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jpe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png"/><Relationship Id="rId10" Type="http://schemas.openxmlformats.org/officeDocument/2006/relationships/image" Target="../media/image28.jpeg"/><Relationship Id="rId4" Type="http://schemas.openxmlformats.org/officeDocument/2006/relationships/image" Target="../media/image5.png"/><Relationship Id="rId9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jpeg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5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g"/><Relationship Id="rId5" Type="http://schemas.openxmlformats.org/officeDocument/2006/relationships/image" Target="../media/image9.svg"/><Relationship Id="rId4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svg"/><Relationship Id="rId5" Type="http://schemas.openxmlformats.org/officeDocument/2006/relationships/image" Target="../media/image15.svg"/><Relationship Id="rId4" Type="http://schemas.openxmlformats.org/officeDocument/2006/relationships/image" Target="../media/image14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microsoft.com/office/2007/relationships/media" Target="../media/media2.mp4"/><Relationship Id="rId7" Type="http://schemas.openxmlformats.org/officeDocument/2006/relationships/image" Target="../media/image18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1.jpeg"/><Relationship Id="rId4" Type="http://schemas.openxmlformats.org/officeDocument/2006/relationships/video" Target="../media/media2.mp4"/><Relationship Id="rId9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1000" b="-2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2C9ECC-4CB4-6533-644A-76DCAB9E4D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88DE95D8-927F-2C1C-B16E-B30CCC08C65B}"/>
              </a:ext>
            </a:extLst>
          </p:cNvPr>
          <p:cNvSpPr txBox="1"/>
          <p:nvPr/>
        </p:nvSpPr>
        <p:spPr>
          <a:xfrm>
            <a:off x="4169664" y="2239579"/>
            <a:ext cx="7780068" cy="989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 spc="-20" noProof="0" dirty="0">
                <a:solidFill>
                  <a:prstClr val="white"/>
                </a:solidFill>
                <a:latin typeface="Manrope Light" pitchFamily="2" charset="0"/>
                <a:cs typeface="Khand Semibold" panose="02000000000000000000" pitchFamily="2" charset="0"/>
              </a:rPr>
              <a:t>“El </a:t>
            </a:r>
            <a:r>
              <a:rPr lang="es-ES" sz="3600" spc="-20" noProof="0" dirty="0" err="1">
                <a:solidFill>
                  <a:prstClr val="white"/>
                </a:solidFill>
                <a:latin typeface="Manrope Light" pitchFamily="2" charset="0"/>
                <a:cs typeface="Khand Semibold" panose="02000000000000000000" pitchFamily="2" charset="0"/>
              </a:rPr>
              <a:t>benchmark</a:t>
            </a:r>
            <a:r>
              <a:rPr lang="es-ES" sz="3600" spc="-20" noProof="0" dirty="0">
                <a:solidFill>
                  <a:prstClr val="white"/>
                </a:solidFill>
                <a:latin typeface="Manrope Light" pitchFamily="2" charset="0"/>
                <a:cs typeface="Khand Semibold" panose="02000000000000000000" pitchFamily="2" charset="0"/>
              </a:rPr>
              <a:t> me mostró el mundo; yo descubrí quién soy en él”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88954CD1-9C40-F81D-70CF-24A1055613B6}"/>
              </a:ext>
            </a:extLst>
          </p:cNvPr>
          <p:cNvSpPr txBox="1"/>
          <p:nvPr/>
        </p:nvSpPr>
        <p:spPr>
          <a:xfrm>
            <a:off x="6096000" y="1038667"/>
            <a:ext cx="5853732" cy="546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 spc="-20" noProof="0" dirty="0">
                <a:solidFill>
                  <a:prstClr val="white"/>
                </a:solidFill>
                <a:latin typeface="Manrope Light" pitchFamily="2" charset="0"/>
                <a:cs typeface="Khand Semibold" panose="02000000000000000000" pitchFamily="2" charset="0"/>
              </a:rPr>
              <a:t>ACADEMIA DE SERVICIOS </a:t>
            </a:r>
            <a:r>
              <a:rPr lang="es-ES" sz="3600" b="1" spc="-20" noProof="0" dirty="0">
                <a:solidFill>
                  <a:prstClr val="white"/>
                </a:solidFill>
                <a:latin typeface="Manrope Light" pitchFamily="2" charset="0"/>
                <a:cs typeface="Khand Semibold" panose="02000000000000000000" pitchFamily="2" charset="0"/>
              </a:rPr>
              <a:t>2026</a:t>
            </a:r>
          </a:p>
        </p:txBody>
      </p:sp>
    </p:spTree>
    <p:extLst>
      <p:ext uri="{BB962C8B-B14F-4D97-AF65-F5344CB8AC3E}">
        <p14:creationId xmlns:p14="http://schemas.microsoft.com/office/powerpoint/2010/main" val="793309799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06472E-D663-9DAD-38E1-4E45DC169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C42DCE9-52C2-4182-C210-7B15C96ED183}"/>
              </a:ext>
            </a:extLst>
          </p:cNvPr>
          <p:cNvSpPr/>
          <p:nvPr/>
        </p:nvSpPr>
        <p:spPr>
          <a:xfrm>
            <a:off x="11701463" y="0"/>
            <a:ext cx="490538" cy="6858000"/>
          </a:xfrm>
          <a:prstGeom prst="rect">
            <a:avLst/>
          </a:prstGeom>
          <a:solidFill>
            <a:srgbClr val="4024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4">
            <a:extLst>
              <a:ext uri="{FF2B5EF4-FFF2-40B4-BE49-F238E27FC236}">
                <a16:creationId xmlns:a16="http://schemas.microsoft.com/office/drawing/2014/main" id="{6CD94508-DB63-2A5D-D709-174D45E28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1463" y="6189028"/>
            <a:ext cx="4905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67C926F5-3F8F-091C-769F-C729278AE4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01149" y="6059433"/>
            <a:ext cx="2041599" cy="655692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844CCC70-B4DA-ED21-31E5-D0F9BCC77AA7}"/>
              </a:ext>
            </a:extLst>
          </p:cNvPr>
          <p:cNvSpPr txBox="1"/>
          <p:nvPr/>
        </p:nvSpPr>
        <p:spPr>
          <a:xfrm>
            <a:off x="6800093" y="920621"/>
            <a:ext cx="4672013" cy="1000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2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Alimentaria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741769C-65C5-EFF7-5848-1A33E346F621}"/>
              </a:ext>
            </a:extLst>
          </p:cNvPr>
          <p:cNvSpPr txBox="1"/>
          <p:nvPr/>
        </p:nvSpPr>
        <p:spPr>
          <a:xfrm>
            <a:off x="490538" y="920621"/>
            <a:ext cx="5605462" cy="5262979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es-ES" sz="1600" b="1" dirty="0">
                <a:solidFill>
                  <a:srgbClr val="40245E"/>
                </a:solidFill>
                <a:latin typeface="Manrope" pitchFamily="2" charset="0"/>
              </a:rPr>
              <a:t>Charla: </a:t>
            </a:r>
            <a:r>
              <a:rPr lang="en-US" sz="1600" b="1" dirty="0">
                <a:solidFill>
                  <a:srgbClr val="40245E"/>
                </a:solidFill>
              </a:rPr>
              <a:t>Evolution and Trends of Quick Service Restaurants</a:t>
            </a:r>
          </a:p>
          <a:p>
            <a:pPr lvl="0" algn="just">
              <a:defRPr/>
            </a:pPr>
            <a:endParaRPr lang="en-US" sz="1600" b="1" dirty="0">
              <a:solidFill>
                <a:srgbClr val="40245E"/>
              </a:solidFill>
              <a:latin typeface="Manrope" pitchFamily="2" charset="0"/>
            </a:endParaRPr>
          </a:p>
          <a:p>
            <a:pPr lvl="0" algn="just">
              <a:defRPr/>
            </a:pPr>
            <a:r>
              <a:rPr lang="es-ES" sz="1600" b="1" dirty="0">
                <a:solidFill>
                  <a:srgbClr val="40245E"/>
                </a:solidFill>
                <a:latin typeface="Manrope" pitchFamily="2" charset="0"/>
              </a:rPr>
              <a:t>¿De qué trató?</a:t>
            </a:r>
          </a:p>
          <a:p>
            <a:pPr lvl="0" algn="just">
              <a:defRPr/>
            </a:pPr>
            <a:r>
              <a:rPr lang="es-ES" sz="1600" dirty="0">
                <a:solidFill>
                  <a:srgbClr val="40245E"/>
                </a:solidFill>
                <a:latin typeface="Manrope" pitchFamily="2" charset="0"/>
              </a:rPr>
              <a:t> </a:t>
            </a:r>
          </a:p>
          <a:p>
            <a:pPr lvl="0" algn="just">
              <a:defRPr/>
            </a:pPr>
            <a:r>
              <a:rPr lang="es-ES" sz="1600" dirty="0">
                <a:solidFill>
                  <a:srgbClr val="40245E"/>
                </a:solidFill>
                <a:latin typeface="Manrope" pitchFamily="2" charset="0"/>
              </a:rPr>
              <a:t>Analizó cómo evoluciona el consumo </a:t>
            </a:r>
            <a:r>
              <a:rPr lang="es-ES" sz="1600" dirty="0" err="1">
                <a:solidFill>
                  <a:srgbClr val="40245E"/>
                </a:solidFill>
                <a:latin typeface="Manrope" pitchFamily="2" charset="0"/>
              </a:rPr>
              <a:t>foodservice</a:t>
            </a:r>
            <a:r>
              <a:rPr lang="es-ES" sz="1600" dirty="0">
                <a:solidFill>
                  <a:srgbClr val="40245E"/>
                </a:solidFill>
                <a:latin typeface="Manrope" pitchFamily="2" charset="0"/>
              </a:rPr>
              <a:t> fuera del hogar en Europa y cómo distintos formatos compiten hoy por las mismas ocasiones de consumo.</a:t>
            </a:r>
          </a:p>
          <a:p>
            <a:pPr lvl="0" algn="just">
              <a:defRPr/>
            </a:pPr>
            <a:endParaRPr lang="es-ES" sz="1600" b="1" dirty="0">
              <a:solidFill>
                <a:srgbClr val="40245E"/>
              </a:solidFill>
              <a:latin typeface="Manrope" pitchFamily="2" charset="0"/>
            </a:endParaRPr>
          </a:p>
          <a:p>
            <a:pPr lvl="0" algn="just">
              <a:defRPr/>
            </a:pPr>
            <a:r>
              <a:rPr lang="es-ES" sz="1600" b="1" dirty="0">
                <a:solidFill>
                  <a:srgbClr val="40245E"/>
                </a:solidFill>
                <a:latin typeface="Manrope" pitchFamily="2" charset="0"/>
              </a:rPr>
              <a:t>Ideas fuerza: </a:t>
            </a:r>
          </a:p>
          <a:p>
            <a:pPr lvl="0" algn="just">
              <a:defRPr/>
            </a:pPr>
            <a:endParaRPr lang="es-ES" sz="1600" dirty="0">
              <a:solidFill>
                <a:srgbClr val="40245E"/>
              </a:solidFill>
              <a:latin typeface="Manrope" pitchFamily="2" charset="0"/>
            </a:endParaRPr>
          </a:p>
          <a:p>
            <a:pPr marL="342900" lvl="0" indent="-342900" algn="just">
              <a:buAutoNum type="arabicPeriod"/>
              <a:defRPr/>
            </a:pPr>
            <a:r>
              <a:rPr lang="es-ES" sz="1600" dirty="0">
                <a:solidFill>
                  <a:srgbClr val="40245E"/>
                </a:solidFill>
                <a:latin typeface="Manrope" pitchFamily="2" charset="0"/>
              </a:rPr>
              <a:t>Crecen los formatos rápidos, convenientes y visibles.</a:t>
            </a:r>
          </a:p>
          <a:p>
            <a:pPr marL="342900" lvl="0" indent="-342900" algn="just">
              <a:buAutoNum type="arabicPeriod"/>
              <a:defRPr/>
            </a:pPr>
            <a:r>
              <a:rPr lang="es-ES" sz="1600" dirty="0">
                <a:solidFill>
                  <a:srgbClr val="40245E"/>
                </a:solidFill>
                <a:latin typeface="Manrope" pitchFamily="2" charset="0"/>
              </a:rPr>
              <a:t>El valor está en adaptarse a más momentos de consumo.</a:t>
            </a:r>
          </a:p>
          <a:p>
            <a:pPr marL="342900" lvl="0" indent="-342900" algn="just">
              <a:buAutoNum type="arabicPeriod"/>
              <a:defRPr/>
            </a:pPr>
            <a:r>
              <a:rPr lang="es-ES" sz="1600" dirty="0">
                <a:solidFill>
                  <a:srgbClr val="40245E"/>
                </a:solidFill>
                <a:latin typeface="Manrope" pitchFamily="2" charset="0"/>
              </a:rPr>
              <a:t>Las marcas que avanzan combinan precio, facilidad, comunicación e innovación.</a:t>
            </a:r>
          </a:p>
          <a:p>
            <a:pPr marL="342900" lvl="0" indent="-342900" algn="just">
              <a:buAutoNum type="arabicPeriod"/>
              <a:defRPr/>
            </a:pPr>
            <a:r>
              <a:rPr lang="es-ES" sz="1600" dirty="0">
                <a:solidFill>
                  <a:srgbClr val="40245E"/>
                </a:solidFill>
                <a:latin typeface="Manrope" pitchFamily="2" charset="0"/>
              </a:rPr>
              <a:t>El consumidor joven exige propuestas más segmentadas y relevantes.</a:t>
            </a:r>
          </a:p>
          <a:p>
            <a:pPr marL="342900" lvl="0" indent="-342900" algn="just">
              <a:buAutoNum type="arabicPeriod"/>
              <a:defRPr/>
            </a:pPr>
            <a:r>
              <a:rPr lang="es-ES" sz="1600" dirty="0">
                <a:solidFill>
                  <a:srgbClr val="40245E"/>
                </a:solidFill>
                <a:latin typeface="Manrope" pitchFamily="2" charset="0"/>
              </a:rPr>
              <a:t>Impacto para la audiencia.</a:t>
            </a:r>
          </a:p>
          <a:p>
            <a:pPr lvl="0" algn="just">
              <a:defRPr/>
            </a:pPr>
            <a:endParaRPr lang="es-ES" sz="1600" dirty="0">
              <a:solidFill>
                <a:srgbClr val="40245E"/>
              </a:solidFill>
              <a:latin typeface="Manrope" pitchFamily="2" charset="0"/>
            </a:endParaRPr>
          </a:p>
          <a:p>
            <a:pPr lvl="0" algn="just">
              <a:defRPr/>
            </a:pPr>
            <a:r>
              <a:rPr lang="es-ES" sz="1600" dirty="0">
                <a:solidFill>
                  <a:srgbClr val="40245E"/>
                </a:solidFill>
                <a:latin typeface="Manrope" pitchFamily="2" charset="0"/>
              </a:rPr>
              <a:t> Entrega una mirada clara sobre cómo crecer hoy: entender mejor al cliente, ampliar ocasiones de consumo y construir propuestas simples, atractivas y bien posicionadas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46A3927-6884-D15E-9BA9-F1E318D2F421}"/>
              </a:ext>
            </a:extLst>
          </p:cNvPr>
          <p:cNvSpPr txBox="1"/>
          <p:nvPr/>
        </p:nvSpPr>
        <p:spPr>
          <a:xfrm>
            <a:off x="6889612" y="1921472"/>
            <a:ext cx="4492974" cy="1477328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rgbClr val="40245E"/>
                </a:solidFill>
                <a:latin typeface="Manrope" pitchFamily="2" charset="0"/>
              </a:rPr>
              <a:t>Feria internacional líder en alimentación, gastronomía, </a:t>
            </a:r>
            <a:r>
              <a:rPr lang="es-ES" dirty="0" err="1">
                <a:solidFill>
                  <a:srgbClr val="40245E"/>
                </a:solidFill>
                <a:latin typeface="Manrope" pitchFamily="2" charset="0"/>
              </a:rPr>
              <a:t>foodservice</a:t>
            </a:r>
            <a:r>
              <a:rPr lang="es-ES" dirty="0">
                <a:solidFill>
                  <a:srgbClr val="40245E"/>
                </a:solidFill>
                <a:latin typeface="Manrope" pitchFamily="2" charset="0"/>
              </a:rPr>
              <a:t> y hospitalidad, realizada en Barcelona como plataforma de tendencias, innovación y negocio para toda la cadena de valor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51D0AB5-A958-23EC-3D8E-D2796596CB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1775" y="3899665"/>
            <a:ext cx="1728647" cy="1229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023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27A32F-8F76-68CA-4B1E-19EC611377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59ED109-FD0B-8FFF-EC76-D87F5BA1038D}"/>
              </a:ext>
            </a:extLst>
          </p:cNvPr>
          <p:cNvSpPr/>
          <p:nvPr/>
        </p:nvSpPr>
        <p:spPr>
          <a:xfrm>
            <a:off x="1" y="0"/>
            <a:ext cx="471488" cy="6858000"/>
          </a:xfrm>
          <a:prstGeom prst="rect">
            <a:avLst/>
          </a:prstGeom>
          <a:solidFill>
            <a:srgbClr val="4024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4">
            <a:extLst>
              <a:ext uri="{FF2B5EF4-FFF2-40B4-BE49-F238E27FC236}">
                <a16:creationId xmlns:a16="http://schemas.microsoft.com/office/drawing/2014/main" id="{BC13365E-8133-4D4E-0FBA-AC5FA0984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195701"/>
            <a:ext cx="471488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6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pic>
        <p:nvPicPr>
          <p:cNvPr id="14" name="Gráfico 4">
            <a:extLst>
              <a:ext uri="{FF2B5EF4-FFF2-40B4-BE49-F238E27FC236}">
                <a16:creationId xmlns:a16="http://schemas.microsoft.com/office/drawing/2014/main" id="{7FE39957-F49B-B903-6877-D9EE8D73C9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1664" y="6047878"/>
            <a:ext cx="2057411" cy="660770"/>
          </a:xfrm>
          <a:prstGeom prst="rect">
            <a:avLst/>
          </a:prstGeom>
        </p:spPr>
      </p:pic>
      <p:pic>
        <p:nvPicPr>
          <p:cNvPr id="4" name="Vídeo 3">
            <a:hlinkClick r:id="" action="ppaction://media"/>
            <a:extLst>
              <a:ext uri="{FF2B5EF4-FFF2-40B4-BE49-F238E27FC236}">
                <a16:creationId xmlns:a16="http://schemas.microsoft.com/office/drawing/2014/main" id="{D4EBD87D-8E79-3C16-C071-246851010A5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601075" y="379413"/>
            <a:ext cx="3048000" cy="53848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842ACE53-9E62-3DBF-32B7-B65920144E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25" y="379413"/>
            <a:ext cx="2451935" cy="3470331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96D9F8F-B1CB-CD48-A551-9ABA018AA5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24" y="3982609"/>
            <a:ext cx="3571775" cy="257821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ABA9E86A-E64C-0A54-D370-0F42308559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5903" y="391491"/>
            <a:ext cx="2442876" cy="3458253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6FFF1B8-C98B-C843-85A4-0736FCA006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122" y="391492"/>
            <a:ext cx="2216926" cy="1662695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6EC4F90B-37E1-5674-57B9-AA37FCFA74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275" y="3982609"/>
            <a:ext cx="3571774" cy="2578217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86BC9F44-4899-294A-8D06-17B257D6906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122" y="2187050"/>
            <a:ext cx="2216926" cy="166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819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815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977B2-814E-8BDF-EEA2-92977D2A13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98727594-82FC-A1E7-DD13-21F63AD012E8}"/>
              </a:ext>
            </a:extLst>
          </p:cNvPr>
          <p:cNvSpPr/>
          <p:nvPr/>
        </p:nvSpPr>
        <p:spPr>
          <a:xfrm>
            <a:off x="11758613" y="0"/>
            <a:ext cx="433387" cy="6858000"/>
          </a:xfrm>
          <a:prstGeom prst="rect">
            <a:avLst/>
          </a:prstGeom>
          <a:solidFill>
            <a:srgbClr val="4024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4">
            <a:extLst>
              <a:ext uri="{FF2B5EF4-FFF2-40B4-BE49-F238E27FC236}">
                <a16:creationId xmlns:a16="http://schemas.microsoft.com/office/drawing/2014/main" id="{0E2155AA-9160-252B-3CBF-9041EC150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8613" y="6189028"/>
            <a:ext cx="43338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0382B781-5BAB-09E8-5143-B743C54251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161" y="5922328"/>
            <a:ext cx="1967287" cy="631825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1E745150-85CE-5899-737E-68D8528CE870}"/>
              </a:ext>
            </a:extLst>
          </p:cNvPr>
          <p:cNvSpPr txBox="1"/>
          <p:nvPr/>
        </p:nvSpPr>
        <p:spPr>
          <a:xfrm>
            <a:off x="7118729" y="964064"/>
            <a:ext cx="4396996" cy="113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457180">
              <a:lnSpc>
                <a:spcPct val="80000"/>
              </a:lnSpc>
              <a:defRPr/>
            </a:pPr>
            <a:r>
              <a:rPr kumimoji="0" lang="es-ES" sz="42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KANSAI AIRPORTS  </a:t>
            </a:r>
            <a:r>
              <a:rPr lang="es-CL" sz="4200" dirty="0">
                <a:solidFill>
                  <a:srgbClr val="40245E"/>
                </a:solidFill>
              </a:rPr>
              <a:t>“Design </a:t>
            </a:r>
            <a:r>
              <a:rPr lang="es-CL" sz="4200" dirty="0" err="1">
                <a:solidFill>
                  <a:srgbClr val="40245E"/>
                </a:solidFill>
              </a:rPr>
              <a:t>by</a:t>
            </a:r>
            <a:r>
              <a:rPr lang="es-CL" sz="4200" dirty="0">
                <a:solidFill>
                  <a:srgbClr val="40245E"/>
                </a:solidFill>
              </a:rPr>
              <a:t> </a:t>
            </a:r>
            <a:r>
              <a:rPr lang="es-CL" sz="4200" dirty="0" err="1">
                <a:solidFill>
                  <a:srgbClr val="40245E"/>
                </a:solidFill>
              </a:rPr>
              <a:t>Mood</a:t>
            </a:r>
            <a:r>
              <a:rPr lang="es-CL" sz="4200" dirty="0">
                <a:solidFill>
                  <a:srgbClr val="40245E"/>
                </a:solidFill>
              </a:rPr>
              <a:t>”</a:t>
            </a:r>
            <a:endParaRPr kumimoji="0" lang="es-ES" sz="4200" b="1" i="0" u="none" strike="noStrike" kern="1200" cap="none" spc="-20" normalizeH="0" baseline="0" noProof="0" dirty="0">
              <a:ln>
                <a:noFill/>
              </a:ln>
              <a:solidFill>
                <a:srgbClr val="40245E"/>
              </a:solidFill>
              <a:effectLst/>
              <a:uLnTx/>
              <a:uFillTx/>
              <a:latin typeface="Manrope" pitchFamily="2" charset="0"/>
              <a:cs typeface="Khand Semibold" panose="02000000000000000000" pitchFamily="2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8374184-23C9-4289-A76E-2F119A6306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3455" y="5566719"/>
            <a:ext cx="877973" cy="98743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7AC75047-8DDB-05C2-5624-BA85402DBAAE}"/>
              </a:ext>
            </a:extLst>
          </p:cNvPr>
          <p:cNvSpPr txBox="1"/>
          <p:nvPr/>
        </p:nvSpPr>
        <p:spPr>
          <a:xfrm>
            <a:off x="7118729" y="2477615"/>
            <a:ext cx="4396996" cy="3416320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rgbClr val="40245E"/>
                </a:solidFill>
                <a:latin typeface="Manrope" pitchFamily="2" charset="0"/>
              </a:rPr>
              <a:t>KIX T1: El terminal se diseña para que el pasajero elija cómo vivir la espera (mood)… y eso facilita el servicio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rgbClr val="40245E"/>
                </a:solidFill>
                <a:latin typeface="Manrope" pitchFamily="2" charset="0"/>
              </a:rPr>
              <a:t> Flujo más simple igual a menos estrés. Qué significa: menos confusión, menos reclamos y menos “preguntas repetidas” en sala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dirty="0">
              <a:solidFill>
                <a:srgbClr val="40245E"/>
              </a:solidFill>
              <a:latin typeface="Manrope" pitchFamily="2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b="1" dirty="0">
                <a:solidFill>
                  <a:srgbClr val="40245E"/>
                </a:solidFill>
                <a:latin typeface="Manrope" pitchFamily="2" charset="0"/>
              </a:rPr>
              <a:t>“Design </a:t>
            </a:r>
            <a:r>
              <a:rPr lang="es-ES" b="1" dirty="0" err="1">
                <a:solidFill>
                  <a:srgbClr val="40245E"/>
                </a:solidFill>
                <a:latin typeface="Manrope" pitchFamily="2" charset="0"/>
              </a:rPr>
              <a:t>by</a:t>
            </a:r>
            <a:r>
              <a:rPr lang="es-ES" b="1" dirty="0">
                <a:solidFill>
                  <a:srgbClr val="40245E"/>
                </a:solidFill>
                <a:latin typeface="Manrope" pitchFamily="2" charset="0"/>
              </a:rPr>
              <a:t> Mood”:</a:t>
            </a:r>
            <a:r>
              <a:rPr lang="es-ES" dirty="0">
                <a:solidFill>
                  <a:srgbClr val="40245E"/>
                </a:solidFill>
                <a:latin typeface="Manrope" pitchFamily="2" charset="0"/>
              </a:rPr>
              <a:t> 4 zonas por estado de ánimo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rgbClr val="40245E"/>
                </a:solidFill>
                <a:latin typeface="Manrope" pitchFamily="2" charset="0"/>
              </a:rPr>
              <a:t>Qué significa: El espacio guía sin explicar demasiado; comer, comprar o descansar se vuelve intuitivo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2924253-C668-2E96-CE84-CAE2C25E4BFF}"/>
              </a:ext>
            </a:extLst>
          </p:cNvPr>
          <p:cNvSpPr txBox="1"/>
          <p:nvPr/>
        </p:nvSpPr>
        <p:spPr>
          <a:xfrm>
            <a:off x="377161" y="1072575"/>
            <a:ext cx="6154267" cy="452431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b="1" i="1" dirty="0" err="1">
                <a:solidFill>
                  <a:srgbClr val="40245E"/>
                </a:solidFill>
                <a:latin typeface="Manrope" pitchFamily="2" charset="0"/>
              </a:rPr>
              <a:t>Moods</a:t>
            </a: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 (en simple) + ejemplo de tienda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i="1" dirty="0">
              <a:solidFill>
                <a:srgbClr val="40245E"/>
              </a:solidFill>
              <a:latin typeface="Manrope" pitchFamily="2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ES" b="1" i="1" dirty="0" err="1">
                <a:solidFill>
                  <a:srgbClr val="40245E"/>
                </a:solidFill>
                <a:latin typeface="Manrope" pitchFamily="2" charset="0"/>
              </a:rPr>
              <a:t>Fun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(entretención): regalos / juguetes / souvenirs “para llevar algo ya”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ES" b="1" i="1" dirty="0" err="1">
                <a:solidFill>
                  <a:srgbClr val="40245E"/>
                </a:solidFill>
                <a:latin typeface="Manrope" pitchFamily="2" charset="0"/>
              </a:rPr>
              <a:t>Curious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(descubrir): productos locales / tienda “curada” (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craft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, gourmet, edición especial)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Active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(energía y rapidez): 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grab&amp;go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/ café rápido / comida para llevar “sin perder tiempo”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ES" b="1" i="1" dirty="0" err="1">
                <a:solidFill>
                  <a:srgbClr val="40245E"/>
                </a:solidFill>
                <a:latin typeface="Manrope" pitchFamily="2" charset="0"/>
              </a:rPr>
              <a:t>Peaceful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(calma y pausa): té o cafetería tranquila / dulces “para bajar revoluciones”. Plaza + recorrido continuo (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walk-through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). 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i="1" dirty="0">
              <a:solidFill>
                <a:srgbClr val="40245E"/>
              </a:solidFill>
              <a:latin typeface="Manrope" pitchFamily="2" charset="0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Qué significa: la oferta aparece natural; mejora experiencia y ventas sin presión. Identidad local visible. Qué significa: el pasajero siente “esto es 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Kansai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/Japón” y el equipo trabaja con más orgullo.</a:t>
            </a:r>
          </a:p>
        </p:txBody>
      </p:sp>
    </p:spTree>
    <p:extLst>
      <p:ext uri="{BB962C8B-B14F-4D97-AF65-F5344CB8AC3E}">
        <p14:creationId xmlns:p14="http://schemas.microsoft.com/office/powerpoint/2010/main" val="34950953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77465-FEDC-8B93-A799-6744ABC97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3148F481-BE7D-686F-E3AD-195666C3DB70}"/>
              </a:ext>
            </a:extLst>
          </p:cNvPr>
          <p:cNvSpPr/>
          <p:nvPr/>
        </p:nvSpPr>
        <p:spPr>
          <a:xfrm>
            <a:off x="0" y="0"/>
            <a:ext cx="372946" cy="6858000"/>
          </a:xfrm>
          <a:prstGeom prst="rect">
            <a:avLst/>
          </a:prstGeom>
          <a:solidFill>
            <a:srgbClr val="4024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4">
            <a:extLst>
              <a:ext uri="{FF2B5EF4-FFF2-40B4-BE49-F238E27FC236}">
                <a16:creationId xmlns:a16="http://schemas.microsoft.com/office/drawing/2014/main" id="{AA6BF363-4D07-234D-57AC-8C78C9F70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" y="6084392"/>
            <a:ext cx="47148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34EF5C8-3A1B-60EB-25F5-9B6E9C976F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4728" y="2904673"/>
            <a:ext cx="2131288" cy="371444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136A45B4-886B-FB05-164A-5C2A8F1B0E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00" y="3667766"/>
            <a:ext cx="5008842" cy="2951355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4EE6365-0ED0-9229-A3C7-F2A955C795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4728" y="238875"/>
            <a:ext cx="2160682" cy="2460563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2FF8385-BA3E-E44D-CA4D-8EC1CD018B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00" y="238876"/>
            <a:ext cx="2356726" cy="339326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E30A216D-7D8A-A462-666F-09B8687D30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895" y="238876"/>
            <a:ext cx="2544947" cy="3393262"/>
          </a:xfrm>
          <a:prstGeom prst="rect">
            <a:avLst/>
          </a:prstGeom>
        </p:spPr>
      </p:pic>
      <p:pic>
        <p:nvPicPr>
          <p:cNvPr id="18" name="Vídeo 17">
            <a:hlinkClick r:id="" action="ppaction://media"/>
            <a:extLst>
              <a:ext uri="{FF2B5EF4-FFF2-40B4-BE49-F238E27FC236}">
                <a16:creationId xmlns:a16="http://schemas.microsoft.com/office/drawing/2014/main" id="{9B19E664-D8BA-E159-CE5A-BDD6141EEFD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8033902" y="238875"/>
            <a:ext cx="3605213" cy="6380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249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85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AB531-13A2-A952-44CD-9AE23189B5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Vista de una ciudad iluminada&#10;&#10;El contenido generado por IA puede ser incorrecto.">
            <a:extLst>
              <a:ext uri="{FF2B5EF4-FFF2-40B4-BE49-F238E27FC236}">
                <a16:creationId xmlns:a16="http://schemas.microsoft.com/office/drawing/2014/main" id="{8FACCCB5-9AA2-2799-FAC9-19E7E49A94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6" r="2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03458117-A693-B2B9-7912-C41AEBBD33A8}"/>
              </a:ext>
            </a:extLst>
          </p:cNvPr>
          <p:cNvSpPr txBox="1"/>
          <p:nvPr/>
        </p:nvSpPr>
        <p:spPr>
          <a:xfrm>
            <a:off x="0" y="549146"/>
            <a:ext cx="12192000" cy="1887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7200" b="1" spc="-20" dirty="0">
                <a:solidFill>
                  <a:schemeClr val="bg1"/>
                </a:solidFill>
                <a:latin typeface="Manrope" pitchFamily="2" charset="0"/>
                <a:cs typeface="Khand Semibold" panose="02000000000000000000" pitchFamily="2" charset="0"/>
              </a:rPr>
              <a:t>¿Quién me entrego el mejor consejo?</a:t>
            </a:r>
            <a:endParaRPr kumimoji="0" lang="es-ES" sz="7200" b="1" i="0" u="none" strike="noStrike" kern="1200" cap="none" spc="-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" pitchFamily="2" charset="0"/>
              <a:cs typeface="Khand Semibol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38234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número de diapositiva 4">
            <a:extLst>
              <a:ext uri="{FF2B5EF4-FFF2-40B4-BE49-F238E27FC236}">
                <a16:creationId xmlns:a16="http://schemas.microsoft.com/office/drawing/2014/main" id="{AA7F5081-7DC1-9953-E0F8-44F5DC8B4450}"/>
              </a:ext>
            </a:extLst>
          </p:cNvPr>
          <p:cNvSpPr txBox="1">
            <a:spLocks/>
          </p:cNvSpPr>
          <p:nvPr/>
        </p:nvSpPr>
        <p:spPr>
          <a:xfrm rot="10800000">
            <a:off x="8689544" y="16417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5816DC13-4CB1-9A48-B963-7AD3775EBC75}"/>
              </a:ext>
            </a:extLst>
          </p:cNvPr>
          <p:cNvGrpSpPr>
            <a:grpSpLocks noChangeAspect="1"/>
          </p:cNvGrpSpPr>
          <p:nvPr/>
        </p:nvGrpSpPr>
        <p:grpSpPr>
          <a:xfrm>
            <a:off x="5357192" y="-33261"/>
            <a:ext cx="7085412" cy="6926580"/>
            <a:chOff x="5518939" y="-33261"/>
            <a:chExt cx="6901661" cy="6904566"/>
          </a:xfrm>
        </p:grpSpPr>
        <p:sp>
          <p:nvSpPr>
            <p:cNvPr id="16" name="Triángulo rectángulo 15">
              <a:extLst>
                <a:ext uri="{FF2B5EF4-FFF2-40B4-BE49-F238E27FC236}">
                  <a16:creationId xmlns:a16="http://schemas.microsoft.com/office/drawing/2014/main" id="{99CAB16C-7135-873B-6F81-255F9B4C0344}"/>
                </a:ext>
              </a:extLst>
            </p:cNvPr>
            <p:cNvSpPr/>
            <p:nvPr/>
          </p:nvSpPr>
          <p:spPr>
            <a:xfrm rot="10800000">
              <a:off x="5518939" y="-4714"/>
              <a:ext cx="3452283" cy="3429000"/>
            </a:xfrm>
            <a:prstGeom prst="rtTriangle">
              <a:avLst/>
            </a:prstGeom>
            <a:solidFill>
              <a:srgbClr val="F5963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riángulo rectángulo 16">
              <a:extLst>
                <a:ext uri="{FF2B5EF4-FFF2-40B4-BE49-F238E27FC236}">
                  <a16:creationId xmlns:a16="http://schemas.microsoft.com/office/drawing/2014/main" id="{EA7BFD05-4F2A-0047-A347-2E27B25BEBA8}"/>
                </a:ext>
              </a:extLst>
            </p:cNvPr>
            <p:cNvSpPr/>
            <p:nvPr/>
          </p:nvSpPr>
          <p:spPr>
            <a:xfrm rot="10800000" flipH="1">
              <a:off x="8968317" y="-4714"/>
              <a:ext cx="3452283" cy="3429000"/>
            </a:xfrm>
            <a:prstGeom prst="rtTriangle">
              <a:avLst/>
            </a:prstGeom>
            <a:solidFill>
              <a:srgbClr val="40245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F3EF5C1C-4CAF-4D51-95C8-270904476505}"/>
                </a:ext>
              </a:extLst>
            </p:cNvPr>
            <p:cNvGrpSpPr/>
            <p:nvPr/>
          </p:nvGrpSpPr>
          <p:grpSpPr>
            <a:xfrm>
              <a:off x="5518939" y="3416666"/>
              <a:ext cx="6901661" cy="3454639"/>
              <a:chOff x="5518939" y="3424286"/>
              <a:chExt cx="6901661" cy="3454639"/>
            </a:xfrm>
          </p:grpSpPr>
          <p:sp>
            <p:nvSpPr>
              <p:cNvPr id="18" name="Triángulo rectángulo 17">
                <a:extLst>
                  <a:ext uri="{FF2B5EF4-FFF2-40B4-BE49-F238E27FC236}">
                    <a16:creationId xmlns:a16="http://schemas.microsoft.com/office/drawing/2014/main" id="{0C5C92B5-4EFA-B152-DE1A-5664AC1356EB}"/>
                  </a:ext>
                </a:extLst>
              </p:cNvPr>
              <p:cNvSpPr/>
              <p:nvPr/>
            </p:nvSpPr>
            <p:spPr>
              <a:xfrm rot="10800000" flipV="1">
                <a:off x="5518939" y="3424286"/>
                <a:ext cx="3452283" cy="3429000"/>
              </a:xfrm>
              <a:prstGeom prst="rtTriangle">
                <a:avLst/>
              </a:prstGeom>
              <a:solidFill>
                <a:srgbClr val="40245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Triángulo rectángulo 18">
                <a:extLst>
                  <a:ext uri="{FF2B5EF4-FFF2-40B4-BE49-F238E27FC236}">
                    <a16:creationId xmlns:a16="http://schemas.microsoft.com/office/drawing/2014/main" id="{DC260491-DC48-828A-9638-3D2F9E475602}"/>
                  </a:ext>
                </a:extLst>
              </p:cNvPr>
              <p:cNvSpPr/>
              <p:nvPr/>
            </p:nvSpPr>
            <p:spPr>
              <a:xfrm rot="10800000" flipH="1" flipV="1">
                <a:off x="8968317" y="3424286"/>
                <a:ext cx="3452283" cy="3429000"/>
              </a:xfrm>
              <a:prstGeom prst="rtTriangle">
                <a:avLst/>
              </a:prstGeom>
              <a:solidFill>
                <a:srgbClr val="3891A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Triángulo rectángulo 19">
                <a:extLst>
                  <a:ext uri="{FF2B5EF4-FFF2-40B4-BE49-F238E27FC236}">
                    <a16:creationId xmlns:a16="http://schemas.microsoft.com/office/drawing/2014/main" id="{4FAF4EF9-CF35-ED24-6302-8521994819ED}"/>
                  </a:ext>
                </a:extLst>
              </p:cNvPr>
              <p:cNvSpPr/>
              <p:nvPr/>
            </p:nvSpPr>
            <p:spPr>
              <a:xfrm rot="5400000" flipV="1">
                <a:off x="8950806" y="3438284"/>
                <a:ext cx="3452283" cy="3429000"/>
              </a:xfrm>
              <a:prstGeom prst="rtTriangle">
                <a:avLst/>
              </a:prstGeom>
              <a:solidFill>
                <a:srgbClr val="40245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1" name="Triángulo rectángulo 20">
              <a:extLst>
                <a:ext uri="{FF2B5EF4-FFF2-40B4-BE49-F238E27FC236}">
                  <a16:creationId xmlns:a16="http://schemas.microsoft.com/office/drawing/2014/main" id="{62F680CC-21BF-0180-9F6E-F2ABB3820140}"/>
                </a:ext>
              </a:extLst>
            </p:cNvPr>
            <p:cNvSpPr/>
            <p:nvPr/>
          </p:nvSpPr>
          <p:spPr>
            <a:xfrm rot="5400000" flipH="1" flipV="1">
              <a:off x="8956676" y="-21619"/>
              <a:ext cx="3452283" cy="3429000"/>
            </a:xfrm>
            <a:prstGeom prst="rtTriangle">
              <a:avLst/>
            </a:prstGeom>
            <a:solidFill>
              <a:srgbClr val="E83B4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" name="Gráfico 4">
            <a:extLst>
              <a:ext uri="{FF2B5EF4-FFF2-40B4-BE49-F238E27FC236}">
                <a16:creationId xmlns:a16="http://schemas.microsoft.com/office/drawing/2014/main" id="{29D929E9-859D-AB4D-F640-12E97F22A1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286" y="5739714"/>
            <a:ext cx="2352627" cy="75558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DEA9D6B7-C705-8048-BCB0-F087EB76ACD8}"/>
              </a:ext>
            </a:extLst>
          </p:cNvPr>
          <p:cNvSpPr txBox="1"/>
          <p:nvPr/>
        </p:nvSpPr>
        <p:spPr>
          <a:xfrm>
            <a:off x="361680" y="1442506"/>
            <a:ext cx="6767610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s-MX" i="1" dirty="0">
                <a:solidFill>
                  <a:srgbClr val="40245E"/>
                </a:solidFill>
                <a:latin typeface="Manrope" pitchFamily="2" charset="0"/>
              </a:rPr>
              <a:t>“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Hace 6 años iniciamos un camino enfocado en </a:t>
            </a: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construir Excelencia Comercial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, con orientación a resultados, mejora continua y trabajo colaborativo. En este período enfrentamos la pandemia, acompañamos la recuperación operacional del aeropuerto —</a:t>
            </a: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alcanzando cerca del 60% de la operación en un primer año y 85% en el segundo— y contribuimos a recuperar cerca de 400 empleos. </a:t>
            </a:r>
          </a:p>
          <a:p>
            <a:pPr>
              <a:buNone/>
            </a:pP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 </a:t>
            </a:r>
          </a:p>
          <a:p>
            <a:pPr>
              <a:buNone/>
            </a:pP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En paralelo, impulsamos proyectos, estudios, certificaciones e iniciativas que fortalecieron el desempeño comercial y reputacional del aeropuerto. Entre los hitos, destacan el avance hacia un estándar comercial de 4 estrellas en 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Skytrax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desde el 2023, el ingreso al </a:t>
            </a: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Top 100 mundial en 2025, los reconocimientos </a:t>
            </a:r>
            <a:r>
              <a:rPr lang="es-ES" b="1" i="1" dirty="0" err="1">
                <a:solidFill>
                  <a:srgbClr val="40245E"/>
                </a:solidFill>
                <a:latin typeface="Manrope" pitchFamily="2" charset="0"/>
              </a:rPr>
              <a:t>Best</a:t>
            </a: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 </a:t>
            </a:r>
            <a:r>
              <a:rPr lang="es-ES" b="1" i="1" dirty="0" err="1">
                <a:solidFill>
                  <a:srgbClr val="40245E"/>
                </a:solidFill>
                <a:latin typeface="Manrope" pitchFamily="2" charset="0"/>
              </a:rPr>
              <a:t>Airport</a:t>
            </a: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 Staff in South </a:t>
            </a:r>
            <a:r>
              <a:rPr lang="es-ES" b="1" i="1" dirty="0" err="1">
                <a:solidFill>
                  <a:srgbClr val="40245E"/>
                </a:solidFill>
                <a:latin typeface="Manrope" pitchFamily="2" charset="0"/>
              </a:rPr>
              <a:t>America</a:t>
            </a: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 2025 y 2026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, apalancado en los </a:t>
            </a: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resultados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Mystery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Shopper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y certificaciones de calidad y servicio en </a:t>
            </a: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2024 y 2025</a:t>
            </a:r>
            <a:r>
              <a:rPr lang="es-MX" i="1" dirty="0">
                <a:solidFill>
                  <a:srgbClr val="40245E"/>
                </a:solidFill>
                <a:latin typeface="Manrope" pitchFamily="2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007043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34162F-8FAC-4966-8204-F3DF2FF3B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número de diapositiva 4">
            <a:extLst>
              <a:ext uri="{FF2B5EF4-FFF2-40B4-BE49-F238E27FC236}">
                <a16:creationId xmlns:a16="http://schemas.microsoft.com/office/drawing/2014/main" id="{7E4334DA-3150-22C6-5FC3-17A7AA48D056}"/>
              </a:ext>
            </a:extLst>
          </p:cNvPr>
          <p:cNvSpPr txBox="1">
            <a:spLocks/>
          </p:cNvSpPr>
          <p:nvPr/>
        </p:nvSpPr>
        <p:spPr>
          <a:xfrm rot="10800000">
            <a:off x="8689544" y="16417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C9666BB9-FA2D-3503-E4C6-E25940F60BBD}"/>
              </a:ext>
            </a:extLst>
          </p:cNvPr>
          <p:cNvGrpSpPr>
            <a:grpSpLocks noChangeAspect="1"/>
          </p:cNvGrpSpPr>
          <p:nvPr/>
        </p:nvGrpSpPr>
        <p:grpSpPr>
          <a:xfrm>
            <a:off x="5357192" y="-33261"/>
            <a:ext cx="7085412" cy="6926580"/>
            <a:chOff x="5518939" y="-33261"/>
            <a:chExt cx="6901661" cy="6904566"/>
          </a:xfrm>
        </p:grpSpPr>
        <p:sp>
          <p:nvSpPr>
            <p:cNvPr id="16" name="Triángulo rectángulo 15">
              <a:extLst>
                <a:ext uri="{FF2B5EF4-FFF2-40B4-BE49-F238E27FC236}">
                  <a16:creationId xmlns:a16="http://schemas.microsoft.com/office/drawing/2014/main" id="{41DFE7A2-A66B-2718-C650-D87A3F22BEBF}"/>
                </a:ext>
              </a:extLst>
            </p:cNvPr>
            <p:cNvSpPr/>
            <p:nvPr/>
          </p:nvSpPr>
          <p:spPr>
            <a:xfrm rot="10800000">
              <a:off x="5518939" y="-4714"/>
              <a:ext cx="3452283" cy="3429000"/>
            </a:xfrm>
            <a:prstGeom prst="rtTriangle">
              <a:avLst/>
            </a:prstGeom>
            <a:solidFill>
              <a:srgbClr val="F5963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riángulo rectángulo 16">
              <a:extLst>
                <a:ext uri="{FF2B5EF4-FFF2-40B4-BE49-F238E27FC236}">
                  <a16:creationId xmlns:a16="http://schemas.microsoft.com/office/drawing/2014/main" id="{C722F6C2-75B1-1D13-A3D0-AB386ABAAA70}"/>
                </a:ext>
              </a:extLst>
            </p:cNvPr>
            <p:cNvSpPr/>
            <p:nvPr/>
          </p:nvSpPr>
          <p:spPr>
            <a:xfrm rot="10800000" flipH="1">
              <a:off x="8968317" y="-4714"/>
              <a:ext cx="3452283" cy="3429000"/>
            </a:xfrm>
            <a:prstGeom prst="rtTriangle">
              <a:avLst/>
            </a:prstGeom>
            <a:solidFill>
              <a:srgbClr val="40245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2DB8D9CA-24AA-CDF1-26A0-8276BCADFBDE}"/>
                </a:ext>
              </a:extLst>
            </p:cNvPr>
            <p:cNvGrpSpPr/>
            <p:nvPr/>
          </p:nvGrpSpPr>
          <p:grpSpPr>
            <a:xfrm>
              <a:off x="5518939" y="3416666"/>
              <a:ext cx="6901661" cy="3454639"/>
              <a:chOff x="5518939" y="3424286"/>
              <a:chExt cx="6901661" cy="3454639"/>
            </a:xfrm>
          </p:grpSpPr>
          <p:sp>
            <p:nvSpPr>
              <p:cNvPr id="18" name="Triángulo rectángulo 17">
                <a:extLst>
                  <a:ext uri="{FF2B5EF4-FFF2-40B4-BE49-F238E27FC236}">
                    <a16:creationId xmlns:a16="http://schemas.microsoft.com/office/drawing/2014/main" id="{3D6F5788-140A-F98B-69CA-A70A472B9B1E}"/>
                  </a:ext>
                </a:extLst>
              </p:cNvPr>
              <p:cNvSpPr/>
              <p:nvPr/>
            </p:nvSpPr>
            <p:spPr>
              <a:xfrm rot="10800000" flipV="1">
                <a:off x="5518939" y="3424286"/>
                <a:ext cx="3452283" cy="3429000"/>
              </a:xfrm>
              <a:prstGeom prst="rtTriangle">
                <a:avLst/>
              </a:prstGeom>
              <a:solidFill>
                <a:srgbClr val="40245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Triángulo rectángulo 18">
                <a:extLst>
                  <a:ext uri="{FF2B5EF4-FFF2-40B4-BE49-F238E27FC236}">
                    <a16:creationId xmlns:a16="http://schemas.microsoft.com/office/drawing/2014/main" id="{4A64E1A0-F512-6511-0BEF-1BFE34427968}"/>
                  </a:ext>
                </a:extLst>
              </p:cNvPr>
              <p:cNvSpPr/>
              <p:nvPr/>
            </p:nvSpPr>
            <p:spPr>
              <a:xfrm rot="10800000" flipH="1" flipV="1">
                <a:off x="8968317" y="3424286"/>
                <a:ext cx="3452283" cy="3429000"/>
              </a:xfrm>
              <a:prstGeom prst="rtTriangle">
                <a:avLst/>
              </a:prstGeom>
              <a:solidFill>
                <a:srgbClr val="3891A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Triángulo rectángulo 19">
                <a:extLst>
                  <a:ext uri="{FF2B5EF4-FFF2-40B4-BE49-F238E27FC236}">
                    <a16:creationId xmlns:a16="http://schemas.microsoft.com/office/drawing/2014/main" id="{84D5AFD3-C1FA-236D-A15A-83044FCC3655}"/>
                  </a:ext>
                </a:extLst>
              </p:cNvPr>
              <p:cNvSpPr/>
              <p:nvPr/>
            </p:nvSpPr>
            <p:spPr>
              <a:xfrm rot="5400000" flipV="1">
                <a:off x="8950806" y="3438284"/>
                <a:ext cx="3452283" cy="3429000"/>
              </a:xfrm>
              <a:prstGeom prst="rtTriangle">
                <a:avLst/>
              </a:prstGeom>
              <a:solidFill>
                <a:srgbClr val="40245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1" name="Triángulo rectángulo 20">
              <a:extLst>
                <a:ext uri="{FF2B5EF4-FFF2-40B4-BE49-F238E27FC236}">
                  <a16:creationId xmlns:a16="http://schemas.microsoft.com/office/drawing/2014/main" id="{9F0468F3-3693-E0C0-F22D-8A661C38C6C8}"/>
                </a:ext>
              </a:extLst>
            </p:cNvPr>
            <p:cNvSpPr/>
            <p:nvPr/>
          </p:nvSpPr>
          <p:spPr>
            <a:xfrm rot="5400000" flipH="1" flipV="1">
              <a:off x="8956676" y="-21619"/>
              <a:ext cx="3452283" cy="3429000"/>
            </a:xfrm>
            <a:prstGeom prst="rtTriangle">
              <a:avLst/>
            </a:prstGeom>
            <a:solidFill>
              <a:srgbClr val="E83B4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" name="Gráfico 4">
            <a:extLst>
              <a:ext uri="{FF2B5EF4-FFF2-40B4-BE49-F238E27FC236}">
                <a16:creationId xmlns:a16="http://schemas.microsoft.com/office/drawing/2014/main" id="{747527C3-656A-EFC5-FE29-51F6721988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286" y="5739714"/>
            <a:ext cx="2352627" cy="75558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8F5040E4-A77E-8B26-3EA0-F3CE0E02F93B}"/>
              </a:ext>
            </a:extLst>
          </p:cNvPr>
          <p:cNvSpPr txBox="1"/>
          <p:nvPr/>
        </p:nvSpPr>
        <p:spPr>
          <a:xfrm>
            <a:off x="254184" y="3019811"/>
            <a:ext cx="69352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s-ES" sz="4800" i="1" dirty="0">
                <a:solidFill>
                  <a:srgbClr val="40245E"/>
                </a:solidFill>
                <a:latin typeface="Manrope" pitchFamily="2" charset="0"/>
              </a:rPr>
              <a:t>¿Te cuento una historia?</a:t>
            </a:r>
            <a:endParaRPr lang="es-MX" sz="4800" i="1" dirty="0">
              <a:solidFill>
                <a:srgbClr val="40245E"/>
              </a:solidFill>
              <a:latin typeface="Manrop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9146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C34EBA-B3E9-6A2C-E038-B5B3AD87E9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adroTexto 9">
            <a:extLst>
              <a:ext uri="{FF2B5EF4-FFF2-40B4-BE49-F238E27FC236}">
                <a16:creationId xmlns:a16="http://schemas.microsoft.com/office/drawing/2014/main" id="{D5A7B171-6C75-F9DF-49EE-681383561B27}"/>
              </a:ext>
            </a:extLst>
          </p:cNvPr>
          <p:cNvSpPr txBox="1"/>
          <p:nvPr/>
        </p:nvSpPr>
        <p:spPr>
          <a:xfrm>
            <a:off x="1463508" y="847901"/>
            <a:ext cx="7212824" cy="7903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¿Cuántos de ustedes han soñado con ser </a:t>
            </a:r>
          </a:p>
          <a:p>
            <a:pPr marL="0" marR="0" lvl="0" indent="0" algn="ct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dueños de su propio negocio?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ED5F374-DBB2-3F11-2C6A-0CA616692C40}"/>
              </a:ext>
            </a:extLst>
          </p:cNvPr>
          <p:cNvSpPr/>
          <p:nvPr/>
        </p:nvSpPr>
        <p:spPr>
          <a:xfrm>
            <a:off x="0" y="0"/>
            <a:ext cx="242473" cy="6858000"/>
          </a:xfrm>
          <a:prstGeom prst="rect">
            <a:avLst/>
          </a:prstGeom>
          <a:solidFill>
            <a:srgbClr val="4024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4">
            <a:extLst>
              <a:ext uri="{FF2B5EF4-FFF2-40B4-BE49-F238E27FC236}">
                <a16:creationId xmlns:a16="http://schemas.microsoft.com/office/drawing/2014/main" id="{0B37CEF5-1BF3-A1F3-569D-D684F7D63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" y="6106163"/>
            <a:ext cx="242473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AE5C87E6-A5CC-84B2-0C2A-F19666023F3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9103658" y="0"/>
            <a:ext cx="3088341" cy="6858000"/>
          </a:xfrm>
          <a:prstGeom prst="rect">
            <a:avLst/>
          </a:prstGeom>
        </p:spPr>
      </p:pic>
      <p:pic>
        <p:nvPicPr>
          <p:cNvPr id="8" name="Gráfico 7" descr="Ejecutar con relleno sólido">
            <a:extLst>
              <a:ext uri="{FF2B5EF4-FFF2-40B4-BE49-F238E27FC236}">
                <a16:creationId xmlns:a16="http://schemas.microsoft.com/office/drawing/2014/main" id="{F3870A9A-28BC-E6B4-165A-9B953236DC5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173" y="2312336"/>
            <a:ext cx="914400" cy="914400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C5AC3471-4DC4-C618-B7A1-BDF30016EBD6}"/>
              </a:ext>
            </a:extLst>
          </p:cNvPr>
          <p:cNvSpPr txBox="1"/>
          <p:nvPr/>
        </p:nvSpPr>
        <p:spPr>
          <a:xfrm>
            <a:off x="440025" y="3390346"/>
            <a:ext cx="2220696" cy="523220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u="none" strike="noStrike" kern="1200" cap="none" spc="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</a:rPr>
              <a:t>Independenc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400" dirty="0">
                <a:solidFill>
                  <a:srgbClr val="40245E"/>
                </a:solidFill>
                <a:latin typeface="Manrope" pitchFamily="2" charset="0"/>
              </a:rPr>
              <a:t>Ser el dueño de tu futuro</a:t>
            </a:r>
          </a:p>
        </p:txBody>
      </p:sp>
      <p:pic>
        <p:nvPicPr>
          <p:cNvPr id="21" name="Gráfico 20" descr="Robot con relleno sólido">
            <a:extLst>
              <a:ext uri="{FF2B5EF4-FFF2-40B4-BE49-F238E27FC236}">
                <a16:creationId xmlns:a16="http://schemas.microsoft.com/office/drawing/2014/main" id="{590F37CA-796D-7568-2078-FA95538A5EF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55520" y="2312336"/>
            <a:ext cx="914400" cy="914400"/>
          </a:xfrm>
          <a:prstGeom prst="rect">
            <a:avLst/>
          </a:prstGeom>
        </p:spPr>
      </p:pic>
      <p:sp>
        <p:nvSpPr>
          <p:cNvPr id="23" name="CuadroTexto 22">
            <a:extLst>
              <a:ext uri="{FF2B5EF4-FFF2-40B4-BE49-F238E27FC236}">
                <a16:creationId xmlns:a16="http://schemas.microsoft.com/office/drawing/2014/main" id="{3AE5BF27-F6B1-1999-3239-AD7DCADB986A}"/>
              </a:ext>
            </a:extLst>
          </p:cNvPr>
          <p:cNvSpPr txBox="1"/>
          <p:nvPr/>
        </p:nvSpPr>
        <p:spPr>
          <a:xfrm>
            <a:off x="3499380" y="3390346"/>
            <a:ext cx="2220696" cy="523220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u="none" strike="noStrike" kern="1200" cap="none" spc="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</a:rPr>
              <a:t>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400" dirty="0">
                <a:solidFill>
                  <a:srgbClr val="40245E"/>
                </a:solidFill>
                <a:latin typeface="Manrope" pitchFamily="2" charset="0"/>
              </a:rPr>
              <a:t>No depender de nadie</a:t>
            </a:r>
          </a:p>
        </p:txBody>
      </p:sp>
      <p:pic>
        <p:nvPicPr>
          <p:cNvPr id="31" name="Gráfico 30" descr="Colibrí con relleno sólido">
            <a:extLst>
              <a:ext uri="{FF2B5EF4-FFF2-40B4-BE49-F238E27FC236}">
                <a16:creationId xmlns:a16="http://schemas.microsoft.com/office/drawing/2014/main" id="{090DE12E-A898-D1C7-7404-614373FF52B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59782" y="2312336"/>
            <a:ext cx="914400" cy="914400"/>
          </a:xfrm>
          <a:prstGeom prst="rect">
            <a:avLst/>
          </a:prstGeom>
        </p:spPr>
      </p:pic>
      <p:sp>
        <p:nvSpPr>
          <p:cNvPr id="33" name="CuadroTexto 32">
            <a:extLst>
              <a:ext uri="{FF2B5EF4-FFF2-40B4-BE49-F238E27FC236}">
                <a16:creationId xmlns:a16="http://schemas.microsoft.com/office/drawing/2014/main" id="{7237C7F7-B93C-DB03-DCF9-879DE2B1D246}"/>
              </a:ext>
            </a:extLst>
          </p:cNvPr>
          <p:cNvSpPr txBox="1"/>
          <p:nvPr/>
        </p:nvSpPr>
        <p:spPr>
          <a:xfrm>
            <a:off x="1010421" y="5414452"/>
            <a:ext cx="3826524" cy="4203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6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El sueño se hace realidad…</a:t>
            </a:r>
          </a:p>
        </p:txBody>
      </p:sp>
      <p:pic>
        <p:nvPicPr>
          <p:cNvPr id="35" name="Imagen 34">
            <a:extLst>
              <a:ext uri="{FF2B5EF4-FFF2-40B4-BE49-F238E27FC236}">
                <a16:creationId xmlns:a16="http://schemas.microsoft.com/office/drawing/2014/main" id="{1A1BBD23-58D2-E7EF-C63B-28D71642D83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2474" y="4658250"/>
            <a:ext cx="2292223" cy="1932776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36" name="Diagrama de flujo: conector 35">
            <a:extLst>
              <a:ext uri="{FF2B5EF4-FFF2-40B4-BE49-F238E27FC236}">
                <a16:creationId xmlns:a16="http://schemas.microsoft.com/office/drawing/2014/main" id="{7425AD5D-E16B-25E3-8310-368F042FC27D}"/>
              </a:ext>
            </a:extLst>
          </p:cNvPr>
          <p:cNvSpPr/>
          <p:nvPr/>
        </p:nvSpPr>
        <p:spPr>
          <a:xfrm>
            <a:off x="6329270" y="1958831"/>
            <a:ext cx="2575424" cy="2535810"/>
          </a:xfrm>
          <a:prstGeom prst="flowChartConnector">
            <a:avLst/>
          </a:prstGeom>
          <a:noFill/>
          <a:ln w="19050">
            <a:solidFill>
              <a:srgbClr val="40245E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F326B7C6-8D29-AA36-810A-CC230BB35D4F}"/>
              </a:ext>
            </a:extLst>
          </p:cNvPr>
          <p:cNvSpPr txBox="1"/>
          <p:nvPr/>
        </p:nvSpPr>
        <p:spPr>
          <a:xfrm>
            <a:off x="6424308" y="3390346"/>
            <a:ext cx="2220696" cy="523220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u="none" strike="noStrike" kern="1200" cap="none" spc="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</a:rPr>
              <a:t>Liberta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400" dirty="0">
                <a:solidFill>
                  <a:srgbClr val="40245E"/>
                </a:solidFill>
                <a:latin typeface="Manrope" pitchFamily="2" charset="0"/>
              </a:rPr>
              <a:t>La reglas las pones tu</a:t>
            </a:r>
          </a:p>
        </p:txBody>
      </p:sp>
      <p:sp>
        <p:nvSpPr>
          <p:cNvPr id="38" name="Diagrama de flujo: conector 37">
            <a:extLst>
              <a:ext uri="{FF2B5EF4-FFF2-40B4-BE49-F238E27FC236}">
                <a16:creationId xmlns:a16="http://schemas.microsoft.com/office/drawing/2014/main" id="{1EB62C92-E0F9-5C90-A671-1B72C0A6A879}"/>
              </a:ext>
            </a:extLst>
          </p:cNvPr>
          <p:cNvSpPr/>
          <p:nvPr/>
        </p:nvSpPr>
        <p:spPr>
          <a:xfrm>
            <a:off x="3338590" y="1958831"/>
            <a:ext cx="2575424" cy="2535810"/>
          </a:xfrm>
          <a:prstGeom prst="flowChartConnector">
            <a:avLst/>
          </a:prstGeom>
          <a:noFill/>
          <a:ln w="19050">
            <a:solidFill>
              <a:srgbClr val="40245E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9" name="Diagrama de flujo: conector 38">
            <a:extLst>
              <a:ext uri="{FF2B5EF4-FFF2-40B4-BE49-F238E27FC236}">
                <a16:creationId xmlns:a16="http://schemas.microsoft.com/office/drawing/2014/main" id="{6DC3766A-2571-81C6-569F-26555A99CF85}"/>
              </a:ext>
            </a:extLst>
          </p:cNvPr>
          <p:cNvSpPr/>
          <p:nvPr/>
        </p:nvSpPr>
        <p:spPr>
          <a:xfrm>
            <a:off x="321832" y="1958831"/>
            <a:ext cx="2575424" cy="2535810"/>
          </a:xfrm>
          <a:prstGeom prst="flowChartConnector">
            <a:avLst/>
          </a:prstGeom>
          <a:noFill/>
          <a:ln w="19050">
            <a:solidFill>
              <a:srgbClr val="40245E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0" name="Gráfico 4">
            <a:extLst>
              <a:ext uri="{FF2B5EF4-FFF2-40B4-BE49-F238E27FC236}">
                <a16:creationId xmlns:a16="http://schemas.microsoft.com/office/drawing/2014/main" id="{CE3042CF-FE41-B49D-8472-546E8F70AB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771" y="5958354"/>
            <a:ext cx="2057411" cy="66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0775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31111CE-0D09-AD89-F47A-D1BCB32D20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3FB9425B-3736-876C-E34B-16C144FA83C2}"/>
              </a:ext>
            </a:extLst>
          </p:cNvPr>
          <p:cNvSpPr/>
          <p:nvPr/>
        </p:nvSpPr>
        <p:spPr>
          <a:xfrm>
            <a:off x="11949527" y="0"/>
            <a:ext cx="242473" cy="6858000"/>
          </a:xfrm>
          <a:prstGeom prst="rect">
            <a:avLst/>
          </a:prstGeom>
          <a:solidFill>
            <a:srgbClr val="4024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4">
            <a:extLst>
              <a:ext uri="{FF2B5EF4-FFF2-40B4-BE49-F238E27FC236}">
                <a16:creationId xmlns:a16="http://schemas.microsoft.com/office/drawing/2014/main" id="{E9D810FF-ACB7-8728-3A8C-7EED6B4F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949527" y="6189028"/>
            <a:ext cx="242473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792CD8BB-2516-AD0A-CB65-A02C1A3549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10247" y="501738"/>
            <a:ext cx="2363873" cy="759195"/>
          </a:xfrm>
          <a:prstGeom prst="rect">
            <a:avLst/>
          </a:prstGeom>
        </p:spPr>
      </p:pic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5D61DE2-8498-2E53-E8D1-7DF18FE02C9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1" y="0"/>
            <a:ext cx="3869267" cy="6858000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1753A935-9233-9900-6DE3-FF2BB39D0254}"/>
              </a:ext>
            </a:extLst>
          </p:cNvPr>
          <p:cNvSpPr txBox="1"/>
          <p:nvPr/>
        </p:nvSpPr>
        <p:spPr>
          <a:xfrm>
            <a:off x="3869266" y="658519"/>
            <a:ext cx="5246543" cy="445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La derrota y el punto de </a:t>
            </a:r>
            <a:r>
              <a:rPr kumimoji="0" lang="es-ES" sz="2800" b="1" i="0" u="none" strike="noStrike" kern="1200" cap="none" spc="-20" normalizeH="0" baseline="0" noProof="0" dirty="0" err="1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inflexi</a:t>
            </a:r>
            <a:r>
              <a:rPr lang="es-ES" sz="2800" b="1" spc="-20" dirty="0" err="1">
                <a:solidFill>
                  <a:srgbClr val="40245E"/>
                </a:solidFill>
                <a:latin typeface="Manrope" pitchFamily="2" charset="0"/>
                <a:cs typeface="Khand Semibold" panose="02000000000000000000" pitchFamily="2" charset="0"/>
              </a:rPr>
              <a:t>ón</a:t>
            </a:r>
            <a:endParaRPr kumimoji="0" lang="es-ES" sz="2800" b="1" i="0" u="none" strike="noStrike" kern="1200" cap="none" spc="-20" normalizeH="0" baseline="0" noProof="0" dirty="0">
              <a:ln>
                <a:noFill/>
              </a:ln>
              <a:solidFill>
                <a:srgbClr val="40245E"/>
              </a:solidFill>
              <a:effectLst/>
              <a:uLnTx/>
              <a:uFillTx/>
              <a:latin typeface="Manrope" pitchFamily="2" charset="0"/>
              <a:cs typeface="Khand Semibold" panose="02000000000000000000" pitchFamily="2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E912716-C24C-176C-FFCD-6AF53424810F}"/>
              </a:ext>
            </a:extLst>
          </p:cNvPr>
          <p:cNvSpPr txBox="1"/>
          <p:nvPr/>
        </p:nvSpPr>
        <p:spPr>
          <a:xfrm>
            <a:off x="4175640" y="5830544"/>
            <a:ext cx="4378404" cy="541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1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"La suerte es donde confluyen la preparación y la oportunidad“— Marian Roja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9A6A858-0AA8-63B5-6C12-F1FB24CA35A5}"/>
              </a:ext>
            </a:extLst>
          </p:cNvPr>
          <p:cNvSpPr txBox="1"/>
          <p:nvPr/>
        </p:nvSpPr>
        <p:spPr>
          <a:xfrm>
            <a:off x="4824078" y="1798058"/>
            <a:ext cx="2258764" cy="646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b="1" u="none" strike="noStrike" kern="1200" cap="none" spc="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</a:rPr>
              <a:t>Autoestim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dirty="0">
                <a:solidFill>
                  <a:srgbClr val="40245E"/>
                </a:solidFill>
                <a:latin typeface="Manrope" pitchFamily="2" charset="0"/>
              </a:rPr>
              <a:t>Era realmente capaz?</a:t>
            </a:r>
          </a:p>
        </p:txBody>
      </p:sp>
      <p:sp>
        <p:nvSpPr>
          <p:cNvPr id="20" name="Bocadillo: ovalado 19">
            <a:extLst>
              <a:ext uri="{FF2B5EF4-FFF2-40B4-BE49-F238E27FC236}">
                <a16:creationId xmlns:a16="http://schemas.microsoft.com/office/drawing/2014/main" id="{52E258EF-80C7-1473-1822-9B2B0DC0A42B}"/>
              </a:ext>
            </a:extLst>
          </p:cNvPr>
          <p:cNvSpPr/>
          <p:nvPr/>
        </p:nvSpPr>
        <p:spPr>
          <a:xfrm>
            <a:off x="6701527" y="3002885"/>
            <a:ext cx="1563299" cy="1157142"/>
          </a:xfrm>
          <a:prstGeom prst="wedgeEllipseCallout">
            <a:avLst>
              <a:gd name="adj1" fmla="val -42457"/>
              <a:gd name="adj2" fmla="val 76645"/>
            </a:avLst>
          </a:prstGeom>
          <a:noFill/>
          <a:ln>
            <a:solidFill>
              <a:srgbClr val="40245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>
                <a:solidFill>
                  <a:srgbClr val="40245E"/>
                </a:solidFill>
              </a:rPr>
              <a:t>Yo lo he visto y le va bien en las empresas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0F203301-6692-0568-20D6-7945E91B0B02}"/>
              </a:ext>
            </a:extLst>
          </p:cNvPr>
          <p:cNvSpPr txBox="1"/>
          <p:nvPr/>
        </p:nvSpPr>
        <p:spPr>
          <a:xfrm>
            <a:off x="8264826" y="1798058"/>
            <a:ext cx="2258764" cy="646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b="1" u="none" strike="noStrike" kern="1200" cap="none" spc="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</a:rPr>
              <a:t>Desorientació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dirty="0">
                <a:solidFill>
                  <a:srgbClr val="40245E"/>
                </a:solidFill>
                <a:latin typeface="Manrope" pitchFamily="2" charset="0"/>
              </a:rPr>
              <a:t>Pérdida de foco</a:t>
            </a:r>
          </a:p>
        </p:txBody>
      </p:sp>
      <p:sp>
        <p:nvSpPr>
          <p:cNvPr id="25" name="Bocadillo: ovalado 24">
            <a:extLst>
              <a:ext uri="{FF2B5EF4-FFF2-40B4-BE49-F238E27FC236}">
                <a16:creationId xmlns:a16="http://schemas.microsoft.com/office/drawing/2014/main" id="{D9C2833D-CA21-539F-650E-5DE87005C2FA}"/>
              </a:ext>
            </a:extLst>
          </p:cNvPr>
          <p:cNvSpPr/>
          <p:nvPr/>
        </p:nvSpPr>
        <p:spPr>
          <a:xfrm>
            <a:off x="4175640" y="3002885"/>
            <a:ext cx="1563299" cy="1157142"/>
          </a:xfrm>
          <a:prstGeom prst="wedgeEllipseCallout">
            <a:avLst>
              <a:gd name="adj1" fmla="val 57118"/>
              <a:gd name="adj2" fmla="val 41838"/>
            </a:avLst>
          </a:prstGeom>
          <a:noFill/>
          <a:ln>
            <a:solidFill>
              <a:srgbClr val="40245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>
                <a:solidFill>
                  <a:srgbClr val="40245E"/>
                </a:solidFill>
              </a:rPr>
              <a:t>Desordenado pues!</a:t>
            </a:r>
          </a:p>
        </p:txBody>
      </p:sp>
      <p:sp>
        <p:nvSpPr>
          <p:cNvPr id="26" name="Bocadillo: ovalado 25">
            <a:extLst>
              <a:ext uri="{FF2B5EF4-FFF2-40B4-BE49-F238E27FC236}">
                <a16:creationId xmlns:a16="http://schemas.microsoft.com/office/drawing/2014/main" id="{5B1D1C68-AFAA-0A85-0019-F44109C7B26C}"/>
              </a:ext>
            </a:extLst>
          </p:cNvPr>
          <p:cNvSpPr/>
          <p:nvPr/>
        </p:nvSpPr>
        <p:spPr>
          <a:xfrm>
            <a:off x="9227415" y="3002885"/>
            <a:ext cx="1563299" cy="1157142"/>
          </a:xfrm>
          <a:prstGeom prst="wedgeEllipseCallout">
            <a:avLst>
              <a:gd name="adj1" fmla="val -70310"/>
              <a:gd name="adj2" fmla="val 63475"/>
            </a:avLst>
          </a:prstGeom>
          <a:noFill/>
          <a:ln>
            <a:solidFill>
              <a:srgbClr val="40245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>
                <a:solidFill>
                  <a:srgbClr val="40245E"/>
                </a:solidFill>
              </a:rPr>
              <a:t>Descubra para que es bueno!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22B0AC7-15D6-07A8-75BD-EE9272D1FFE2}"/>
              </a:ext>
            </a:extLst>
          </p:cNvPr>
          <p:cNvSpPr txBox="1"/>
          <p:nvPr/>
        </p:nvSpPr>
        <p:spPr>
          <a:xfrm>
            <a:off x="6282091" y="4697152"/>
            <a:ext cx="5386113" cy="445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El consejo que me cambia la vida…</a:t>
            </a:r>
          </a:p>
        </p:txBody>
      </p:sp>
      <p:pic>
        <p:nvPicPr>
          <p:cNvPr id="36" name="Gráfico 35" descr="Altavoz de teléfono con relleno sólido">
            <a:extLst>
              <a:ext uri="{FF2B5EF4-FFF2-40B4-BE49-F238E27FC236}">
                <a16:creationId xmlns:a16="http://schemas.microsoft.com/office/drawing/2014/main" id="{8DFD1DF9-B1CA-BC25-6BBE-75AC2F4ACB3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73607" y="5545151"/>
            <a:ext cx="914400" cy="914400"/>
          </a:xfrm>
          <a:prstGeom prst="rect">
            <a:avLst/>
          </a:prstGeom>
        </p:spPr>
      </p:pic>
      <p:sp>
        <p:nvSpPr>
          <p:cNvPr id="37" name="CuadroTexto 36">
            <a:extLst>
              <a:ext uri="{FF2B5EF4-FFF2-40B4-BE49-F238E27FC236}">
                <a16:creationId xmlns:a16="http://schemas.microsoft.com/office/drawing/2014/main" id="{9D1DA032-AA6F-65EA-C04A-DADEBFFEBF6B}"/>
              </a:ext>
            </a:extLst>
          </p:cNvPr>
          <p:cNvSpPr txBox="1"/>
          <p:nvPr/>
        </p:nvSpPr>
        <p:spPr>
          <a:xfrm>
            <a:off x="8835367" y="5740741"/>
            <a:ext cx="673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8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0832686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176583-E527-F6D3-A4E7-417CAB9B44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adroTexto 9">
            <a:extLst>
              <a:ext uri="{FF2B5EF4-FFF2-40B4-BE49-F238E27FC236}">
                <a16:creationId xmlns:a16="http://schemas.microsoft.com/office/drawing/2014/main" id="{1FBD8929-930D-F4F2-0194-AF750A365BF0}"/>
              </a:ext>
            </a:extLst>
          </p:cNvPr>
          <p:cNvSpPr txBox="1"/>
          <p:nvPr/>
        </p:nvSpPr>
        <p:spPr>
          <a:xfrm>
            <a:off x="777708" y="608415"/>
            <a:ext cx="7212824" cy="445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El </a:t>
            </a:r>
            <a:r>
              <a:rPr kumimoji="0" lang="es-ES" sz="2800" b="1" i="0" u="none" strike="noStrike" kern="1200" cap="none" spc="-20" normalizeH="0" baseline="0" noProof="0" dirty="0" err="1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benchmark</a:t>
            </a:r>
            <a:r>
              <a:rPr kumimoji="0" lang="es-ES" sz="28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 te abre al mundo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1CADF61-E100-F7D1-37B8-C285474F5AEA}"/>
              </a:ext>
            </a:extLst>
          </p:cNvPr>
          <p:cNvSpPr/>
          <p:nvPr/>
        </p:nvSpPr>
        <p:spPr>
          <a:xfrm>
            <a:off x="0" y="0"/>
            <a:ext cx="242473" cy="6858000"/>
          </a:xfrm>
          <a:prstGeom prst="rect">
            <a:avLst/>
          </a:prstGeom>
          <a:solidFill>
            <a:srgbClr val="4024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4">
            <a:extLst>
              <a:ext uri="{FF2B5EF4-FFF2-40B4-BE49-F238E27FC236}">
                <a16:creationId xmlns:a16="http://schemas.microsoft.com/office/drawing/2014/main" id="{74567742-E872-B5E4-B7F5-D874D2CF3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" y="6084392"/>
            <a:ext cx="242473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94FDE8F4-4A1D-44E6-F0C2-7689E7D94D51}"/>
              </a:ext>
            </a:extLst>
          </p:cNvPr>
          <p:cNvSpPr txBox="1"/>
          <p:nvPr/>
        </p:nvSpPr>
        <p:spPr>
          <a:xfrm>
            <a:off x="2978983" y="6078078"/>
            <a:ext cx="5250617" cy="541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1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"El conocimiento y la habilidad suman, pero la actitud multiplica." — Víctor </a:t>
            </a:r>
            <a:r>
              <a:rPr kumimoji="0" lang="es-ES" sz="1800" b="1" i="1" u="none" strike="noStrike" kern="1200" cap="none" spc="-20" normalizeH="0" baseline="0" noProof="0" dirty="0" err="1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Küppers</a:t>
            </a:r>
            <a:endParaRPr kumimoji="0" lang="es-ES" sz="1800" b="1" i="1" u="none" strike="noStrike" kern="1200" cap="none" spc="-20" normalizeH="0" baseline="0" noProof="0" dirty="0">
              <a:ln>
                <a:noFill/>
              </a:ln>
              <a:solidFill>
                <a:srgbClr val="40245E"/>
              </a:solidFill>
              <a:effectLst/>
              <a:uLnTx/>
              <a:uFillTx/>
              <a:latin typeface="Manrope" pitchFamily="2" charset="0"/>
              <a:cs typeface="Khand Semibold" panose="02000000000000000000" pitchFamily="2" charset="0"/>
            </a:endParaRPr>
          </a:p>
        </p:txBody>
      </p:sp>
      <p:pic>
        <p:nvPicPr>
          <p:cNvPr id="9" name="Image 0" descr="preencoded.png">
            <a:extLst>
              <a:ext uri="{FF2B5EF4-FFF2-40B4-BE49-F238E27FC236}">
                <a16:creationId xmlns:a16="http://schemas.microsoft.com/office/drawing/2014/main" id="{36EE2A33-2301-0783-60DA-8AD1721973A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9049732" y="0"/>
            <a:ext cx="3142268" cy="6858000"/>
          </a:xfrm>
          <a:prstGeom prst="rect">
            <a:avLst/>
          </a:prstGeom>
        </p:spPr>
      </p:pic>
      <p:pic>
        <p:nvPicPr>
          <p:cNvPr id="14" name="Gráfico 4">
            <a:extLst>
              <a:ext uri="{FF2B5EF4-FFF2-40B4-BE49-F238E27FC236}">
                <a16:creationId xmlns:a16="http://schemas.microsoft.com/office/drawing/2014/main" id="{C03A0C43-777E-2711-8FFD-751CD7CE2C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771" y="5958354"/>
            <a:ext cx="2057411" cy="660770"/>
          </a:xfrm>
          <a:prstGeom prst="rect">
            <a:avLst/>
          </a:prstGeom>
        </p:spPr>
      </p:pic>
      <p:pic>
        <p:nvPicPr>
          <p:cNvPr id="16" name="Gráfico 15" descr="Avión con relleno sólido">
            <a:extLst>
              <a:ext uri="{FF2B5EF4-FFF2-40B4-BE49-F238E27FC236}">
                <a16:creationId xmlns:a16="http://schemas.microsoft.com/office/drawing/2014/main" id="{ED5A21EC-6993-7F26-44E4-29794DBE03A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6328" y="1719081"/>
            <a:ext cx="914400" cy="914400"/>
          </a:xfrm>
          <a:prstGeom prst="rect">
            <a:avLst/>
          </a:prstGeom>
        </p:spPr>
      </p:pic>
      <p:pic>
        <p:nvPicPr>
          <p:cNvPr id="18" name="Gráfico 17" descr="Cabeza con engranajes con relleno sólido">
            <a:extLst>
              <a:ext uri="{FF2B5EF4-FFF2-40B4-BE49-F238E27FC236}">
                <a16:creationId xmlns:a16="http://schemas.microsoft.com/office/drawing/2014/main" id="{BFE91262-32CB-E4E3-26F0-1FCA57E9DA3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6328" y="4312175"/>
            <a:ext cx="914400" cy="914400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EB36545D-FFA8-D28B-C2D7-29F5D8D98117}"/>
              </a:ext>
            </a:extLst>
          </p:cNvPr>
          <p:cNvSpPr txBox="1"/>
          <p:nvPr/>
        </p:nvSpPr>
        <p:spPr>
          <a:xfrm>
            <a:off x="2064583" y="1710151"/>
            <a:ext cx="4554903" cy="923330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b="1" dirty="0">
                <a:solidFill>
                  <a:srgbClr val="40245E"/>
                </a:solidFill>
                <a:latin typeface="Manrope" pitchFamily="2" charset="0"/>
              </a:rPr>
              <a:t>Conoce tu mundo</a:t>
            </a:r>
            <a:endParaRPr kumimoji="0" lang="es-MX" b="1" u="none" strike="noStrike" kern="1200" cap="none" spc="0" normalizeH="0" baseline="0" noProof="0" dirty="0">
              <a:ln>
                <a:noFill/>
              </a:ln>
              <a:solidFill>
                <a:srgbClr val="40245E"/>
              </a:solidFill>
              <a:effectLst/>
              <a:uLnTx/>
              <a:uFillTx/>
              <a:latin typeface="Manrope" pitchFamily="2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rgbClr val="40245E"/>
                </a:solidFill>
                <a:latin typeface="Manrope" pitchFamily="2" charset="0"/>
              </a:rPr>
              <a:t>No siempre es viajar. A veces una charla, una historia, una foto te abre estándares posibles.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4B3EBD7D-4F94-A5E5-F722-431A88A155A0}"/>
              </a:ext>
            </a:extLst>
          </p:cNvPr>
          <p:cNvSpPr txBox="1"/>
          <p:nvPr/>
        </p:nvSpPr>
        <p:spPr>
          <a:xfrm>
            <a:off x="2064581" y="3078180"/>
            <a:ext cx="4554903" cy="923330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b="1" dirty="0">
                <a:solidFill>
                  <a:srgbClr val="40245E"/>
                </a:solidFill>
                <a:latin typeface="Manrope" pitchFamily="2" charset="0"/>
              </a:rPr>
              <a:t>Prepárate</a:t>
            </a:r>
            <a:endParaRPr kumimoji="0" lang="es-MX" b="1" u="none" strike="noStrike" kern="1200" cap="none" spc="0" normalizeH="0" baseline="0" noProof="0" dirty="0">
              <a:ln>
                <a:noFill/>
              </a:ln>
              <a:solidFill>
                <a:srgbClr val="40245E"/>
              </a:solidFill>
              <a:effectLst/>
              <a:uLnTx/>
              <a:uFillTx/>
              <a:latin typeface="Manrope" pitchFamily="2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rgbClr val="40245E"/>
                </a:solidFill>
                <a:latin typeface="Manrope" pitchFamily="2" charset="0"/>
              </a:rPr>
              <a:t>Capacitaciones, foros, haz que explote tu mente.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C84F8094-39D8-4749-2A46-7327CA4B6969}"/>
              </a:ext>
            </a:extLst>
          </p:cNvPr>
          <p:cNvSpPr txBox="1"/>
          <p:nvPr/>
        </p:nvSpPr>
        <p:spPr>
          <a:xfrm>
            <a:off x="2064582" y="4446209"/>
            <a:ext cx="4554903" cy="646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b="1" dirty="0">
                <a:solidFill>
                  <a:srgbClr val="40245E"/>
                </a:solidFill>
                <a:latin typeface="Manrope" pitchFamily="2" charset="0"/>
              </a:rPr>
              <a:t>Acciona ideas</a:t>
            </a:r>
            <a:endParaRPr kumimoji="0" lang="es-MX" b="1" u="none" strike="noStrike" kern="1200" cap="none" spc="0" normalizeH="0" baseline="0" noProof="0" dirty="0">
              <a:ln>
                <a:noFill/>
              </a:ln>
              <a:solidFill>
                <a:srgbClr val="40245E"/>
              </a:solidFill>
              <a:effectLst/>
              <a:uLnTx/>
              <a:uFillTx/>
              <a:latin typeface="Manrope" pitchFamily="2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rgbClr val="40245E"/>
                </a:solidFill>
                <a:latin typeface="Manrope" pitchFamily="2" charset="0"/>
              </a:rPr>
              <a:t>Parte por conocerte a ti mismo.</a:t>
            </a:r>
          </a:p>
        </p:txBody>
      </p:sp>
      <p:pic>
        <p:nvPicPr>
          <p:cNvPr id="26" name="Gráfico 25" descr="Libros con relleno sólido">
            <a:extLst>
              <a:ext uri="{FF2B5EF4-FFF2-40B4-BE49-F238E27FC236}">
                <a16:creationId xmlns:a16="http://schemas.microsoft.com/office/drawing/2014/main" id="{F3F4A54F-D0C6-7E34-F9C8-0F59464A13A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6327" y="308264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5025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9579BD-E643-A8F1-D4AC-79B6A2C05F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número de diapositiva 4">
            <a:extLst>
              <a:ext uri="{FF2B5EF4-FFF2-40B4-BE49-F238E27FC236}">
                <a16:creationId xmlns:a16="http://schemas.microsoft.com/office/drawing/2014/main" id="{822CF866-D12E-43A1-90CE-A25E6211E788}"/>
              </a:ext>
            </a:extLst>
          </p:cNvPr>
          <p:cNvSpPr txBox="1">
            <a:spLocks/>
          </p:cNvSpPr>
          <p:nvPr/>
        </p:nvSpPr>
        <p:spPr>
          <a:xfrm rot="10800000">
            <a:off x="8689544" y="16417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08FABCA5-46AD-D1B9-BA95-B4E5896DD82F}"/>
              </a:ext>
            </a:extLst>
          </p:cNvPr>
          <p:cNvGrpSpPr>
            <a:grpSpLocks noChangeAspect="1"/>
          </p:cNvGrpSpPr>
          <p:nvPr/>
        </p:nvGrpSpPr>
        <p:grpSpPr>
          <a:xfrm>
            <a:off x="5357192" y="-33261"/>
            <a:ext cx="7085412" cy="6926580"/>
            <a:chOff x="5518939" y="-33261"/>
            <a:chExt cx="6901661" cy="6904566"/>
          </a:xfrm>
        </p:grpSpPr>
        <p:sp>
          <p:nvSpPr>
            <p:cNvPr id="16" name="Triángulo rectángulo 15">
              <a:extLst>
                <a:ext uri="{FF2B5EF4-FFF2-40B4-BE49-F238E27FC236}">
                  <a16:creationId xmlns:a16="http://schemas.microsoft.com/office/drawing/2014/main" id="{F3C61BC7-958F-C6C3-F49D-7CEB98198081}"/>
                </a:ext>
              </a:extLst>
            </p:cNvPr>
            <p:cNvSpPr/>
            <p:nvPr/>
          </p:nvSpPr>
          <p:spPr>
            <a:xfrm rot="10800000">
              <a:off x="5518939" y="-4714"/>
              <a:ext cx="3452283" cy="3429000"/>
            </a:xfrm>
            <a:prstGeom prst="rtTriangle">
              <a:avLst/>
            </a:prstGeom>
            <a:solidFill>
              <a:srgbClr val="F5963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riángulo rectángulo 16">
              <a:extLst>
                <a:ext uri="{FF2B5EF4-FFF2-40B4-BE49-F238E27FC236}">
                  <a16:creationId xmlns:a16="http://schemas.microsoft.com/office/drawing/2014/main" id="{914BA51B-E084-6A91-2157-27964B1EB807}"/>
                </a:ext>
              </a:extLst>
            </p:cNvPr>
            <p:cNvSpPr/>
            <p:nvPr/>
          </p:nvSpPr>
          <p:spPr>
            <a:xfrm rot="10800000" flipH="1">
              <a:off x="8968317" y="-4714"/>
              <a:ext cx="3452283" cy="3429000"/>
            </a:xfrm>
            <a:prstGeom prst="rtTriangle">
              <a:avLst/>
            </a:prstGeom>
            <a:solidFill>
              <a:srgbClr val="40245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10667A45-F227-C8DA-D0B3-B71B088C5C52}"/>
                </a:ext>
              </a:extLst>
            </p:cNvPr>
            <p:cNvGrpSpPr/>
            <p:nvPr/>
          </p:nvGrpSpPr>
          <p:grpSpPr>
            <a:xfrm>
              <a:off x="5518939" y="3416666"/>
              <a:ext cx="6901661" cy="3454639"/>
              <a:chOff x="5518939" y="3424286"/>
              <a:chExt cx="6901661" cy="3454639"/>
            </a:xfrm>
          </p:grpSpPr>
          <p:sp>
            <p:nvSpPr>
              <p:cNvPr id="18" name="Triángulo rectángulo 17">
                <a:extLst>
                  <a:ext uri="{FF2B5EF4-FFF2-40B4-BE49-F238E27FC236}">
                    <a16:creationId xmlns:a16="http://schemas.microsoft.com/office/drawing/2014/main" id="{B1127B8D-2673-D3B2-AA3B-876A8F0BCC25}"/>
                  </a:ext>
                </a:extLst>
              </p:cNvPr>
              <p:cNvSpPr/>
              <p:nvPr/>
            </p:nvSpPr>
            <p:spPr>
              <a:xfrm rot="10800000" flipV="1">
                <a:off x="5518939" y="3424286"/>
                <a:ext cx="3452283" cy="3429000"/>
              </a:xfrm>
              <a:prstGeom prst="rtTriangle">
                <a:avLst/>
              </a:prstGeom>
              <a:solidFill>
                <a:srgbClr val="40245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Triángulo rectángulo 18">
                <a:extLst>
                  <a:ext uri="{FF2B5EF4-FFF2-40B4-BE49-F238E27FC236}">
                    <a16:creationId xmlns:a16="http://schemas.microsoft.com/office/drawing/2014/main" id="{EB5503D3-AFE2-695D-0018-01DA869CB481}"/>
                  </a:ext>
                </a:extLst>
              </p:cNvPr>
              <p:cNvSpPr/>
              <p:nvPr/>
            </p:nvSpPr>
            <p:spPr>
              <a:xfrm rot="10800000" flipH="1" flipV="1">
                <a:off x="8968317" y="3424286"/>
                <a:ext cx="3452283" cy="3429000"/>
              </a:xfrm>
              <a:prstGeom prst="rtTriangle">
                <a:avLst/>
              </a:prstGeom>
              <a:solidFill>
                <a:srgbClr val="3891A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Triángulo rectángulo 19">
                <a:extLst>
                  <a:ext uri="{FF2B5EF4-FFF2-40B4-BE49-F238E27FC236}">
                    <a16:creationId xmlns:a16="http://schemas.microsoft.com/office/drawing/2014/main" id="{D92B79FD-2668-AB29-CA85-A41BCE74104D}"/>
                  </a:ext>
                </a:extLst>
              </p:cNvPr>
              <p:cNvSpPr/>
              <p:nvPr/>
            </p:nvSpPr>
            <p:spPr>
              <a:xfrm rot="5400000" flipV="1">
                <a:off x="8950806" y="3438284"/>
                <a:ext cx="3452283" cy="3429000"/>
              </a:xfrm>
              <a:prstGeom prst="rtTriangle">
                <a:avLst/>
              </a:prstGeom>
              <a:solidFill>
                <a:srgbClr val="40245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1" name="Triángulo rectángulo 20">
              <a:extLst>
                <a:ext uri="{FF2B5EF4-FFF2-40B4-BE49-F238E27FC236}">
                  <a16:creationId xmlns:a16="http://schemas.microsoft.com/office/drawing/2014/main" id="{B57F434C-CA79-04C4-364E-BC3AABE54110}"/>
                </a:ext>
              </a:extLst>
            </p:cNvPr>
            <p:cNvSpPr/>
            <p:nvPr/>
          </p:nvSpPr>
          <p:spPr>
            <a:xfrm rot="5400000" flipH="1" flipV="1">
              <a:off x="8956676" y="-21619"/>
              <a:ext cx="3452283" cy="3429000"/>
            </a:xfrm>
            <a:prstGeom prst="rtTriangle">
              <a:avLst/>
            </a:prstGeom>
            <a:solidFill>
              <a:srgbClr val="E83B4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" name="Gráfico 4">
            <a:extLst>
              <a:ext uri="{FF2B5EF4-FFF2-40B4-BE49-F238E27FC236}">
                <a16:creationId xmlns:a16="http://schemas.microsoft.com/office/drawing/2014/main" id="{50DE892C-2141-6D2B-7BEA-81EDA0C5C6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286" y="5739714"/>
            <a:ext cx="2352627" cy="75558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7DA3C7B-A70F-3E67-28FF-EE006CE13F87}"/>
              </a:ext>
            </a:extLst>
          </p:cNvPr>
          <p:cNvSpPr txBox="1"/>
          <p:nvPr/>
        </p:nvSpPr>
        <p:spPr>
          <a:xfrm>
            <a:off x="254184" y="3019811"/>
            <a:ext cx="69352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s-ES" sz="4800" i="1" dirty="0">
                <a:solidFill>
                  <a:srgbClr val="40245E"/>
                </a:solidFill>
                <a:latin typeface="Manrope" pitchFamily="2" charset="0"/>
              </a:rPr>
              <a:t>¿Compartamos ideas?</a:t>
            </a:r>
            <a:endParaRPr lang="es-MX" sz="4800" i="1" dirty="0">
              <a:solidFill>
                <a:srgbClr val="40245E"/>
              </a:solidFill>
              <a:latin typeface="Manrop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6316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A6A2B-254C-CF58-8706-2BDB9F413D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7CD0A406-48C1-9741-1963-F2900DA30A18}"/>
              </a:ext>
            </a:extLst>
          </p:cNvPr>
          <p:cNvSpPr/>
          <p:nvPr/>
        </p:nvSpPr>
        <p:spPr>
          <a:xfrm>
            <a:off x="11814839" y="0"/>
            <a:ext cx="377162" cy="6858000"/>
          </a:xfrm>
          <a:prstGeom prst="rect">
            <a:avLst/>
          </a:prstGeom>
          <a:solidFill>
            <a:srgbClr val="4024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4">
            <a:extLst>
              <a:ext uri="{FF2B5EF4-FFF2-40B4-BE49-F238E27FC236}">
                <a16:creationId xmlns:a16="http://schemas.microsoft.com/office/drawing/2014/main" id="{71CA33D7-72F0-010F-4CDD-067CFEA53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6737" y="6189028"/>
            <a:ext cx="335264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733C0F46-7283-99F9-7424-57A5FD232A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78876" y="5991992"/>
            <a:ext cx="2363873" cy="759195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F8CAF9D5-1272-0227-360B-1C0A31066B2B}"/>
              </a:ext>
            </a:extLst>
          </p:cNvPr>
          <p:cNvSpPr txBox="1"/>
          <p:nvPr/>
        </p:nvSpPr>
        <p:spPr>
          <a:xfrm>
            <a:off x="7692800" y="747492"/>
            <a:ext cx="3508052" cy="1000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200" b="1" i="0" u="none" strike="noStrike" kern="1200" cap="none" spc="-20" normalizeH="0" baseline="0" noProof="0" dirty="0">
                <a:ln>
                  <a:noFill/>
                </a:ln>
                <a:solidFill>
                  <a:srgbClr val="40245E"/>
                </a:solidFill>
                <a:effectLst/>
                <a:uLnTx/>
                <a:uFillTx/>
                <a:latin typeface="Manrope" pitchFamily="2" charset="0"/>
                <a:cs typeface="Khand Semibold" panose="02000000000000000000" pitchFamily="2" charset="0"/>
              </a:rPr>
              <a:t>SELF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629F9BB-3F9F-0D20-A90B-2C5777415C83}"/>
              </a:ext>
            </a:extLst>
          </p:cNvPr>
          <p:cNvSpPr txBox="1"/>
          <p:nvPr/>
        </p:nvSpPr>
        <p:spPr>
          <a:xfrm>
            <a:off x="377161" y="1072575"/>
            <a:ext cx="6154267" cy="203132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SELF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es una iniciativa de 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Areas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en Barcelona-El Prat que une IA, robótica y pedido digital para transformar la experiencia de consumo en el aeropuerto. Su valor se expresa en tres ejes: una experiencia de cliente con efecto WOW, una operación más eficiente gracias a la integración humano-robot, y una propuesta que agrega confort, sostenibilidad y visibilidad a la oferta comercial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9B60789-1900-FD4C-4DA2-7A30E1585887}"/>
              </a:ext>
            </a:extLst>
          </p:cNvPr>
          <p:cNvSpPr txBox="1"/>
          <p:nvPr/>
        </p:nvSpPr>
        <p:spPr>
          <a:xfrm>
            <a:off x="377161" y="3406669"/>
            <a:ext cx="6154267" cy="2585323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Tres ejes del proyecto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i="1" dirty="0">
              <a:solidFill>
                <a:srgbClr val="40245E"/>
              </a:solidFill>
              <a:latin typeface="Manrope" pitchFamily="2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Experiencia cliente: 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Genera un efecto sorpresa real y hace más memorable la espera del pasajero.</a:t>
            </a:r>
            <a:endParaRPr lang="es-ES" b="1" i="1" dirty="0">
              <a:solidFill>
                <a:srgbClr val="40245E"/>
              </a:solidFill>
              <a:latin typeface="Manrope" pitchFamily="2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Eficiencia operativa: 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Integra trabajo humano y robótico para acelerar el servicio y optimizar la operación.</a:t>
            </a:r>
            <a:endParaRPr lang="es-ES" b="1" i="1" dirty="0">
              <a:solidFill>
                <a:srgbClr val="40245E"/>
              </a:solidFill>
              <a:latin typeface="Manrope" pitchFamily="2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ES" b="1" i="1" dirty="0">
                <a:solidFill>
                  <a:srgbClr val="40245E"/>
                </a:solidFill>
                <a:latin typeface="Manrope" pitchFamily="2" charset="0"/>
              </a:rPr>
              <a:t>Valor ampliado: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Suma confort, sostenibilidad y una propuesta premium 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Grab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 &amp; </a:t>
            </a:r>
            <a:r>
              <a:rPr lang="es-ES" i="1" dirty="0" err="1">
                <a:solidFill>
                  <a:srgbClr val="40245E"/>
                </a:solidFill>
                <a:latin typeface="Manrope" pitchFamily="2" charset="0"/>
              </a:rPr>
              <a:t>Go</a:t>
            </a:r>
            <a:r>
              <a:rPr lang="es-ES" i="1" dirty="0">
                <a:solidFill>
                  <a:srgbClr val="40245E"/>
                </a:solidFill>
                <a:latin typeface="Manrope" pitchFamily="2" charset="0"/>
              </a:rPr>
              <a:t>, proyectando una innovación visible y escalable.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1028CA82-9CF0-674A-99B7-D4DEFE5DD7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607" y="2044543"/>
            <a:ext cx="2738437" cy="3651249"/>
          </a:xfrm>
          <a:prstGeom prst="rect">
            <a:avLst/>
          </a:prstGeom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35330630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57244B-8646-264F-FBA8-0008D8D86E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9BE04177-B4FD-068E-2795-D8B0ADF23563}"/>
              </a:ext>
            </a:extLst>
          </p:cNvPr>
          <p:cNvSpPr/>
          <p:nvPr/>
        </p:nvSpPr>
        <p:spPr>
          <a:xfrm>
            <a:off x="0" y="0"/>
            <a:ext cx="343771" cy="6858000"/>
          </a:xfrm>
          <a:prstGeom prst="rect">
            <a:avLst/>
          </a:prstGeom>
          <a:solidFill>
            <a:srgbClr val="4024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4">
            <a:extLst>
              <a:ext uri="{FF2B5EF4-FFF2-40B4-BE49-F238E27FC236}">
                <a16:creationId xmlns:a16="http://schemas.microsoft.com/office/drawing/2014/main" id="{6BDAD9C1-018B-AB3C-5F44-6448BACDD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" y="6084392"/>
            <a:ext cx="242473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53BA0-54DA-4BED-AFAE-47BBBE84EC9E}" type="slidenum"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pic>
        <p:nvPicPr>
          <p:cNvPr id="14" name="Gráfico 4">
            <a:extLst>
              <a:ext uri="{FF2B5EF4-FFF2-40B4-BE49-F238E27FC236}">
                <a16:creationId xmlns:a16="http://schemas.microsoft.com/office/drawing/2014/main" id="{6B6F6473-C23D-4D54-16B8-9933777C53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771" y="5958354"/>
            <a:ext cx="2057411" cy="660770"/>
          </a:xfrm>
          <a:prstGeom prst="rect">
            <a:avLst/>
          </a:prstGeom>
        </p:spPr>
      </p:pic>
      <p:pic>
        <p:nvPicPr>
          <p:cNvPr id="4" name="Vídeo 3">
            <a:hlinkClick r:id="" action="ppaction://media"/>
            <a:extLst>
              <a:ext uri="{FF2B5EF4-FFF2-40B4-BE49-F238E27FC236}">
                <a16:creationId xmlns:a16="http://schemas.microsoft.com/office/drawing/2014/main" id="{439FD333-0540-F651-0E5C-A35CF17371A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8580147" y="541797"/>
            <a:ext cx="3192876" cy="5725157"/>
          </a:xfrm>
          <a:prstGeom prst="rect">
            <a:avLst/>
          </a:prstGeom>
        </p:spPr>
      </p:pic>
      <p:pic>
        <p:nvPicPr>
          <p:cNvPr id="8" name="Vídeo 5">
            <a:hlinkClick r:id="" action="ppaction://media"/>
            <a:extLst>
              <a:ext uri="{FF2B5EF4-FFF2-40B4-BE49-F238E27FC236}">
                <a16:creationId xmlns:a16="http://schemas.microsoft.com/office/drawing/2014/main" id="{C625A9CE-7764-CFAB-CDE0-3BC952D5C33C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4835110" y="493037"/>
            <a:ext cx="3465927" cy="5773917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8B878E0C-1A98-DCDE-0C34-FBDEC5C67B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77" y="3429000"/>
            <a:ext cx="3086100" cy="231457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42C1F08F-439A-2051-06C4-7A01AA13F90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77" y="790014"/>
            <a:ext cx="3086100" cy="2314575"/>
          </a:xfrm>
          <a:prstGeom prst="rect">
            <a:avLst/>
          </a:prstGeom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2710478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28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481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9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 mute="1">
                <p:cTn id="15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55</TotalTime>
  <Words>858</Words>
  <Application>Microsoft Office PowerPoint</Application>
  <PresentationFormat>Panorámica</PresentationFormat>
  <Paragraphs>88</Paragraphs>
  <Slides>14</Slides>
  <Notes>2</Notes>
  <HiddenSlides>0</HiddenSlides>
  <MMClips>4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4</vt:i4>
      </vt:variant>
    </vt:vector>
  </HeadingPairs>
  <TitlesOfParts>
    <vt:vector size="27" baseType="lpstr">
      <vt:lpstr>Aptos</vt:lpstr>
      <vt:lpstr>Aptos Display</vt:lpstr>
      <vt:lpstr>Arial</vt:lpstr>
      <vt:lpstr>Calibri</vt:lpstr>
      <vt:lpstr>Calibri Light</vt:lpstr>
      <vt:lpstr>Khand Semibold</vt:lpstr>
      <vt:lpstr>Manrope</vt:lpstr>
      <vt:lpstr>Manrope Light</vt:lpstr>
      <vt:lpstr>Wingdings</vt:lpstr>
      <vt:lpstr>3_Tema de Office</vt:lpstr>
      <vt:lpstr>Tema de Office</vt:lpstr>
      <vt:lpstr>Diapositiva de think-cell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los Christian peña Sanchez</dc:creator>
  <cp:lastModifiedBy>Eduardo Gallego</cp:lastModifiedBy>
  <cp:revision>96</cp:revision>
  <dcterms:created xsi:type="dcterms:W3CDTF">2025-07-30T08:11:18Z</dcterms:created>
  <dcterms:modified xsi:type="dcterms:W3CDTF">2026-04-01T18:38:10Z</dcterms:modified>
</cp:coreProperties>
</file>